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omments/comment1.xml" ContentType="application/vnd.openxmlformats-officedocument.presentationml.comment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2.xml" ContentType="application/vnd.openxmlformats-officedocument.presentationml.comments+xml"/>
  <Override PartName="/ppt/theme/themeOverride4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heme/themeOverride5.xml" ContentType="application/vnd.openxmlformats-officedocument.themeOverride+xml"/>
  <Override PartName="/ppt/tags/tag1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256" r:id="rId2"/>
    <p:sldId id="269" r:id="rId3"/>
    <p:sldId id="258" r:id="rId4"/>
    <p:sldId id="270" r:id="rId5"/>
    <p:sldId id="280" r:id="rId6"/>
    <p:sldId id="278" r:id="rId7"/>
    <p:sldId id="281" r:id="rId8"/>
    <p:sldId id="284" r:id="rId9"/>
    <p:sldId id="282" r:id="rId10"/>
    <p:sldId id="283" r:id="rId11"/>
    <p:sldId id="279" r:id="rId12"/>
    <p:sldId id="286" r:id="rId13"/>
    <p:sldId id="287" r:id="rId14"/>
    <p:sldId id="288" r:id="rId15"/>
    <p:sldId id="289" r:id="rId16"/>
    <p:sldId id="290" r:id="rId17"/>
    <p:sldId id="285" r:id="rId18"/>
    <p:sldId id="261" r:id="rId19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byne" initials="C" lastIdx="3" clrIdx="0">
    <p:extLst>
      <p:ext uri="{19B8F6BF-5375-455C-9EA6-DF929625EA0E}">
        <p15:presenceInfo xmlns:p15="http://schemas.microsoft.com/office/powerpoint/2012/main" userId="Carbyn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40000"/>
    <a:srgbClr val="EEEEEE"/>
    <a:srgbClr val="CCCCCC"/>
    <a:srgbClr val="FDC12B"/>
    <a:srgbClr val="A2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38378A2-A190-4135-9A9F-7ECD399CC7F5}" v="348" dt="2021-07-08T09:04:24.533"/>
    <p1510:client id="{34B0905A-984E-4143-B117-EB4075EFBE72}" v="153" dt="2021-07-09T02:53:19.39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0995" autoAdjust="0"/>
  </p:normalViewPr>
  <p:slideViewPr>
    <p:cSldViewPr snapToGrid="0">
      <p:cViewPr varScale="1">
        <p:scale>
          <a:sx n="83" d="100"/>
          <a:sy n="83" d="100"/>
        </p:scale>
        <p:origin x="547" y="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rbyne" userId="93d76288-529d-40ff-802e-9c196277caca" providerId="ADAL" clId="{238378A2-A190-4135-9A9F-7ECD399CC7F5}"/>
    <pc:docChg chg="undo redo custSel addSld delSld modSld sldOrd">
      <pc:chgData name="Carbyne" userId="93d76288-529d-40ff-802e-9c196277caca" providerId="ADAL" clId="{238378A2-A190-4135-9A9F-7ECD399CC7F5}" dt="2021-07-08T09:04:24.533" v="2894"/>
      <pc:docMkLst>
        <pc:docMk/>
      </pc:docMkLst>
      <pc:sldChg chg="modSp mod">
        <pc:chgData name="Carbyne" userId="93d76288-529d-40ff-802e-9c196277caca" providerId="ADAL" clId="{238378A2-A190-4135-9A9F-7ECD399CC7F5}" dt="2021-07-08T05:57:26.712" v="125" actId="20577"/>
        <pc:sldMkLst>
          <pc:docMk/>
          <pc:sldMk cId="2371597387" sldId="258"/>
        </pc:sldMkLst>
        <pc:spChg chg="mod">
          <ac:chgData name="Carbyne" userId="93d76288-529d-40ff-802e-9c196277caca" providerId="ADAL" clId="{238378A2-A190-4135-9A9F-7ECD399CC7F5}" dt="2021-07-08T05:57:26.712" v="125" actId="20577"/>
          <ac:spMkLst>
            <pc:docMk/>
            <pc:sldMk cId="2371597387" sldId="258"/>
            <ac:spMk id="6" creationId="{00000000-0000-0000-0000-000000000000}"/>
          </ac:spMkLst>
        </pc:spChg>
      </pc:sldChg>
      <pc:sldChg chg="modSp mod">
        <pc:chgData name="Carbyne" userId="93d76288-529d-40ff-802e-9c196277caca" providerId="ADAL" clId="{238378A2-A190-4135-9A9F-7ECD399CC7F5}" dt="2021-07-08T05:57:53.855" v="140" actId="20577"/>
        <pc:sldMkLst>
          <pc:docMk/>
          <pc:sldMk cId="1259043032" sldId="261"/>
        </pc:sldMkLst>
        <pc:spChg chg="mod">
          <ac:chgData name="Carbyne" userId="93d76288-529d-40ff-802e-9c196277caca" providerId="ADAL" clId="{238378A2-A190-4135-9A9F-7ECD399CC7F5}" dt="2021-07-08T05:57:53.855" v="140" actId="20577"/>
          <ac:spMkLst>
            <pc:docMk/>
            <pc:sldMk cId="1259043032" sldId="261"/>
            <ac:spMk id="5" creationId="{00000000-0000-0000-0000-000000000000}"/>
          </ac:spMkLst>
        </pc:spChg>
        <pc:spChg chg="mod">
          <ac:chgData name="Carbyne" userId="93d76288-529d-40ff-802e-9c196277caca" providerId="ADAL" clId="{238378A2-A190-4135-9A9F-7ECD399CC7F5}" dt="2021-07-08T05:57:46.083" v="130"/>
          <ac:spMkLst>
            <pc:docMk/>
            <pc:sldMk cId="1259043032" sldId="261"/>
            <ac:spMk id="6" creationId="{00000000-0000-0000-0000-000000000000}"/>
          </ac:spMkLst>
        </pc:spChg>
        <pc:spChg chg="mod">
          <ac:chgData name="Carbyne" userId="93d76288-529d-40ff-802e-9c196277caca" providerId="ADAL" clId="{238378A2-A190-4135-9A9F-7ECD399CC7F5}" dt="2021-07-08T05:57:50.713" v="139" actId="20577"/>
          <ac:spMkLst>
            <pc:docMk/>
            <pc:sldMk cId="1259043032" sldId="261"/>
            <ac:spMk id="7" creationId="{00000000-0000-0000-0000-000000000000}"/>
          </ac:spMkLst>
        </pc:spChg>
      </pc:sldChg>
      <pc:sldChg chg="modSp mod">
        <pc:chgData name="Carbyne" userId="93d76288-529d-40ff-802e-9c196277caca" providerId="ADAL" clId="{238378A2-A190-4135-9A9F-7ECD399CC7F5}" dt="2021-07-08T05:58:05.509" v="153" actId="20577"/>
        <pc:sldMkLst>
          <pc:docMk/>
          <pc:sldMk cId="911933172" sldId="269"/>
        </pc:sldMkLst>
        <pc:spChg chg="mod">
          <ac:chgData name="Carbyne" userId="93d76288-529d-40ff-802e-9c196277caca" providerId="ADAL" clId="{238378A2-A190-4135-9A9F-7ECD399CC7F5}" dt="2021-07-08T05:58:05.509" v="153" actId="20577"/>
          <ac:spMkLst>
            <pc:docMk/>
            <pc:sldMk cId="911933172" sldId="269"/>
            <ac:spMk id="7" creationId="{48F70259-7598-4270-874A-6F50772D10F6}"/>
          </ac:spMkLst>
        </pc:spChg>
      </pc:sldChg>
      <pc:sldChg chg="addSp delSp modSp mod ord modAnim addCm">
        <pc:chgData name="Carbyne" userId="93d76288-529d-40ff-802e-9c196277caca" providerId="ADAL" clId="{238378A2-A190-4135-9A9F-7ECD399CC7F5}" dt="2021-07-08T08:17:31.582" v="2515"/>
        <pc:sldMkLst>
          <pc:docMk/>
          <pc:sldMk cId="2369704174" sldId="270"/>
        </pc:sldMkLst>
        <pc:spChg chg="mod">
          <ac:chgData name="Carbyne" userId="93d76288-529d-40ff-802e-9c196277caca" providerId="ADAL" clId="{238378A2-A190-4135-9A9F-7ECD399CC7F5}" dt="2021-07-08T05:58:32.825" v="199" actId="20577"/>
          <ac:spMkLst>
            <pc:docMk/>
            <pc:sldMk cId="2369704174" sldId="270"/>
            <ac:spMk id="2" creationId="{00000000-0000-0000-0000-000000000000}"/>
          </ac:spMkLst>
        </pc:spChg>
        <pc:spChg chg="mod">
          <ac:chgData name="Carbyne" userId="93d76288-529d-40ff-802e-9c196277caca" providerId="ADAL" clId="{238378A2-A190-4135-9A9F-7ECD399CC7F5}" dt="2021-07-08T07:32:23.083" v="2041" actId="20577"/>
          <ac:spMkLst>
            <pc:docMk/>
            <pc:sldMk cId="2369704174" sldId="270"/>
            <ac:spMk id="3" creationId="{00000000-0000-0000-0000-000000000000}"/>
          </ac:spMkLst>
        </pc:spChg>
        <pc:spChg chg="add del mod">
          <ac:chgData name="Carbyne" userId="93d76288-529d-40ff-802e-9c196277caca" providerId="ADAL" clId="{238378A2-A190-4135-9A9F-7ECD399CC7F5}" dt="2021-07-08T07:02:07.595" v="1765" actId="22"/>
          <ac:spMkLst>
            <pc:docMk/>
            <pc:sldMk cId="2369704174" sldId="270"/>
            <ac:spMk id="6" creationId="{A6A23ECB-42AA-477A-B7F3-83AEE252C5A1}"/>
          </ac:spMkLst>
        </pc:spChg>
        <pc:spChg chg="add mod">
          <ac:chgData name="Carbyne" userId="93d76288-529d-40ff-802e-9c196277caca" providerId="ADAL" clId="{238378A2-A190-4135-9A9F-7ECD399CC7F5}" dt="2021-07-08T07:34:15.010" v="2063" actId="1076"/>
          <ac:spMkLst>
            <pc:docMk/>
            <pc:sldMk cId="2369704174" sldId="270"/>
            <ac:spMk id="8" creationId="{69BC45F9-A44E-4E5A-8CE4-6284B47B3ADF}"/>
          </ac:spMkLst>
        </pc:spChg>
        <pc:spChg chg="add mod">
          <ac:chgData name="Carbyne" userId="93d76288-529d-40ff-802e-9c196277caca" providerId="ADAL" clId="{238378A2-A190-4135-9A9F-7ECD399CC7F5}" dt="2021-07-08T07:59:23.275" v="2428" actId="1037"/>
          <ac:spMkLst>
            <pc:docMk/>
            <pc:sldMk cId="2369704174" sldId="270"/>
            <ac:spMk id="9" creationId="{DC1B9AB4-5349-48A6-BD70-859063051F20}"/>
          </ac:spMkLst>
        </pc:spChg>
        <pc:picChg chg="add mod">
          <ac:chgData name="Carbyne" userId="93d76288-529d-40ff-802e-9c196277caca" providerId="ADAL" clId="{238378A2-A190-4135-9A9F-7ECD399CC7F5}" dt="2021-07-08T07:32:10.032" v="2031" actId="1076"/>
          <ac:picMkLst>
            <pc:docMk/>
            <pc:sldMk cId="2369704174" sldId="270"/>
            <ac:picMk id="11" creationId="{8BC15C24-63A8-423C-9575-594DC3FC2441}"/>
          </ac:picMkLst>
        </pc:picChg>
      </pc:sldChg>
      <pc:sldChg chg="del">
        <pc:chgData name="Carbyne" userId="93d76288-529d-40ff-802e-9c196277caca" providerId="ADAL" clId="{238378A2-A190-4135-9A9F-7ECD399CC7F5}" dt="2021-07-08T05:58:50.208" v="201" actId="47"/>
        <pc:sldMkLst>
          <pc:docMk/>
          <pc:sldMk cId="545778957" sldId="271"/>
        </pc:sldMkLst>
      </pc:sldChg>
      <pc:sldChg chg="del">
        <pc:chgData name="Carbyne" userId="93d76288-529d-40ff-802e-9c196277caca" providerId="ADAL" clId="{238378A2-A190-4135-9A9F-7ECD399CC7F5}" dt="2021-07-08T05:58:51.132" v="202" actId="47"/>
        <pc:sldMkLst>
          <pc:docMk/>
          <pc:sldMk cId="329752134" sldId="272"/>
        </pc:sldMkLst>
      </pc:sldChg>
      <pc:sldChg chg="del">
        <pc:chgData name="Carbyne" userId="93d76288-529d-40ff-802e-9c196277caca" providerId="ADAL" clId="{238378A2-A190-4135-9A9F-7ECD399CC7F5}" dt="2021-07-08T05:58:51.923" v="203" actId="47"/>
        <pc:sldMkLst>
          <pc:docMk/>
          <pc:sldMk cId="3915218043" sldId="273"/>
        </pc:sldMkLst>
      </pc:sldChg>
      <pc:sldChg chg="del">
        <pc:chgData name="Carbyne" userId="93d76288-529d-40ff-802e-9c196277caca" providerId="ADAL" clId="{238378A2-A190-4135-9A9F-7ECD399CC7F5}" dt="2021-07-08T05:58:52.668" v="204" actId="47"/>
        <pc:sldMkLst>
          <pc:docMk/>
          <pc:sldMk cId="2562601572" sldId="274"/>
        </pc:sldMkLst>
      </pc:sldChg>
      <pc:sldChg chg="del">
        <pc:chgData name="Carbyne" userId="93d76288-529d-40ff-802e-9c196277caca" providerId="ADAL" clId="{238378A2-A190-4135-9A9F-7ECD399CC7F5}" dt="2021-07-08T05:58:53.400" v="205" actId="47"/>
        <pc:sldMkLst>
          <pc:docMk/>
          <pc:sldMk cId="329989085" sldId="275"/>
        </pc:sldMkLst>
      </pc:sldChg>
      <pc:sldChg chg="del">
        <pc:chgData name="Carbyne" userId="93d76288-529d-40ff-802e-9c196277caca" providerId="ADAL" clId="{238378A2-A190-4135-9A9F-7ECD399CC7F5}" dt="2021-07-08T05:58:53.888" v="206" actId="47"/>
        <pc:sldMkLst>
          <pc:docMk/>
          <pc:sldMk cId="3962855674" sldId="276"/>
        </pc:sldMkLst>
      </pc:sldChg>
      <pc:sldChg chg="del">
        <pc:chgData name="Carbyne" userId="93d76288-529d-40ff-802e-9c196277caca" providerId="ADAL" clId="{238378A2-A190-4135-9A9F-7ECD399CC7F5}" dt="2021-07-08T05:58:54.351" v="207" actId="47"/>
        <pc:sldMkLst>
          <pc:docMk/>
          <pc:sldMk cId="1237192661" sldId="277"/>
        </pc:sldMkLst>
      </pc:sldChg>
      <pc:sldChg chg="modSp mod">
        <pc:chgData name="Carbyne" userId="93d76288-529d-40ff-802e-9c196277caca" providerId="ADAL" clId="{238378A2-A190-4135-9A9F-7ECD399CC7F5}" dt="2021-07-08T05:56:59.390" v="52" actId="20577"/>
        <pc:sldMkLst>
          <pc:docMk/>
          <pc:sldMk cId="1070264487" sldId="278"/>
        </pc:sldMkLst>
        <pc:spChg chg="mod">
          <ac:chgData name="Carbyne" userId="93d76288-529d-40ff-802e-9c196277caca" providerId="ADAL" clId="{238378A2-A190-4135-9A9F-7ECD399CC7F5}" dt="2021-07-08T05:56:59.390" v="52" actId="20577"/>
          <ac:spMkLst>
            <pc:docMk/>
            <pc:sldMk cId="1070264487" sldId="278"/>
            <ac:spMk id="6" creationId="{00000000-0000-0000-0000-000000000000}"/>
          </ac:spMkLst>
        </pc:spChg>
      </pc:sldChg>
      <pc:sldChg chg="modSp add mod">
        <pc:chgData name="Carbyne" userId="93d76288-529d-40ff-802e-9c196277caca" providerId="ADAL" clId="{238378A2-A190-4135-9A9F-7ECD399CC7F5}" dt="2021-07-08T05:58:20.265" v="190" actId="20577"/>
        <pc:sldMkLst>
          <pc:docMk/>
          <pc:sldMk cId="2533396026" sldId="279"/>
        </pc:sldMkLst>
        <pc:spChg chg="mod">
          <ac:chgData name="Carbyne" userId="93d76288-529d-40ff-802e-9c196277caca" providerId="ADAL" clId="{238378A2-A190-4135-9A9F-7ECD399CC7F5}" dt="2021-07-08T05:58:12.997" v="170" actId="20577"/>
          <ac:spMkLst>
            <pc:docMk/>
            <pc:sldMk cId="2533396026" sldId="279"/>
            <ac:spMk id="5" creationId="{00000000-0000-0000-0000-000000000000}"/>
          </ac:spMkLst>
        </pc:spChg>
        <pc:spChg chg="mod">
          <ac:chgData name="Carbyne" userId="93d76288-529d-40ff-802e-9c196277caca" providerId="ADAL" clId="{238378A2-A190-4135-9A9F-7ECD399CC7F5}" dt="2021-07-08T05:58:20.265" v="190" actId="20577"/>
          <ac:spMkLst>
            <pc:docMk/>
            <pc:sldMk cId="2533396026" sldId="279"/>
            <ac:spMk id="6" creationId="{00000000-0000-0000-0000-000000000000}"/>
          </ac:spMkLst>
        </pc:spChg>
      </pc:sldChg>
      <pc:sldChg chg="addSp delSp modSp add mod modAnim addCm modNotesTx">
        <pc:chgData name="Carbyne" userId="93d76288-529d-40ff-802e-9c196277caca" providerId="ADAL" clId="{238378A2-A190-4135-9A9F-7ECD399CC7F5}" dt="2021-07-08T08:17:59.297" v="2518"/>
        <pc:sldMkLst>
          <pc:docMk/>
          <pc:sldMk cId="634973377" sldId="280"/>
        </pc:sldMkLst>
        <pc:spChg chg="mod">
          <ac:chgData name="Carbyne" userId="93d76288-529d-40ff-802e-9c196277caca" providerId="ADAL" clId="{238378A2-A190-4135-9A9F-7ECD399CC7F5}" dt="2021-07-08T06:05:08.098" v="223" actId="20577"/>
          <ac:spMkLst>
            <pc:docMk/>
            <pc:sldMk cId="634973377" sldId="280"/>
            <ac:spMk id="2" creationId="{00000000-0000-0000-0000-000000000000}"/>
          </ac:spMkLst>
        </pc:spChg>
        <pc:spChg chg="add mod">
          <ac:chgData name="Carbyne" userId="93d76288-529d-40ff-802e-9c196277caca" providerId="ADAL" clId="{238378A2-A190-4135-9A9F-7ECD399CC7F5}" dt="2021-07-08T07:40:44.330" v="2107" actId="1076"/>
          <ac:spMkLst>
            <pc:docMk/>
            <pc:sldMk cId="634973377" sldId="280"/>
            <ac:spMk id="7" creationId="{6B78485C-331B-43F9-9683-B672E4FE9A70}"/>
          </ac:spMkLst>
        </pc:spChg>
        <pc:spChg chg="add mod">
          <ac:chgData name="Carbyne" userId="93d76288-529d-40ff-802e-9c196277caca" providerId="ADAL" clId="{238378A2-A190-4135-9A9F-7ECD399CC7F5}" dt="2021-07-08T07:49:19.541" v="2300" actId="20577"/>
          <ac:spMkLst>
            <pc:docMk/>
            <pc:sldMk cId="634973377" sldId="280"/>
            <ac:spMk id="9" creationId="{C5EE4D1F-F068-4463-B331-115C289BA6AD}"/>
          </ac:spMkLst>
        </pc:spChg>
        <pc:spChg chg="add mod">
          <ac:chgData name="Carbyne" userId="93d76288-529d-40ff-802e-9c196277caca" providerId="ADAL" clId="{238378A2-A190-4135-9A9F-7ECD399CC7F5}" dt="2021-07-08T07:50:02.762" v="2332" actId="20577"/>
          <ac:spMkLst>
            <pc:docMk/>
            <pc:sldMk cId="634973377" sldId="280"/>
            <ac:spMk id="10" creationId="{0231C824-A71A-45A6-A1B0-195AAF2778AB}"/>
          </ac:spMkLst>
        </pc:spChg>
        <pc:spChg chg="add del mod">
          <ac:chgData name="Carbyne" userId="93d76288-529d-40ff-802e-9c196277caca" providerId="ADAL" clId="{238378A2-A190-4135-9A9F-7ECD399CC7F5}" dt="2021-07-08T07:49:47.437" v="2320"/>
          <ac:spMkLst>
            <pc:docMk/>
            <pc:sldMk cId="634973377" sldId="280"/>
            <ac:spMk id="11" creationId="{09F2E1F4-0630-44EE-9E22-5150F72EFE2C}"/>
          </ac:spMkLst>
        </pc:spChg>
        <pc:grpChg chg="add mod">
          <ac:chgData name="Carbyne" userId="93d76288-529d-40ff-802e-9c196277caca" providerId="ADAL" clId="{238378A2-A190-4135-9A9F-7ECD399CC7F5}" dt="2021-07-08T07:41:17.908" v="2109" actId="1076"/>
          <ac:grpSpMkLst>
            <pc:docMk/>
            <pc:sldMk cId="634973377" sldId="280"/>
            <ac:grpSpMk id="8" creationId="{D6A795ED-6D60-4335-B49F-155281220BBA}"/>
          </ac:grpSpMkLst>
        </pc:grpChg>
        <pc:picChg chg="add mod">
          <ac:chgData name="Carbyne" userId="93d76288-529d-40ff-802e-9c196277caca" providerId="ADAL" clId="{238378A2-A190-4135-9A9F-7ECD399CC7F5}" dt="2021-07-08T07:40:36.226" v="2104" actId="164"/>
          <ac:picMkLst>
            <pc:docMk/>
            <pc:sldMk cId="634973377" sldId="280"/>
            <ac:picMk id="6" creationId="{60FFEF02-E67E-4C41-843E-DF883CFDC057}"/>
          </ac:picMkLst>
        </pc:picChg>
      </pc:sldChg>
      <pc:sldChg chg="addSp delSp modSp add mod modAnim modNotesTx">
        <pc:chgData name="Carbyne" userId="93d76288-529d-40ff-802e-9c196277caca" providerId="ADAL" clId="{238378A2-A190-4135-9A9F-7ECD399CC7F5}" dt="2021-07-08T09:04:24.533" v="2894"/>
        <pc:sldMkLst>
          <pc:docMk/>
          <pc:sldMk cId="765452453" sldId="281"/>
        </pc:sldMkLst>
        <pc:spChg chg="mod">
          <ac:chgData name="Carbyne" userId="93d76288-529d-40ff-802e-9c196277caca" providerId="ADAL" clId="{238378A2-A190-4135-9A9F-7ECD399CC7F5}" dt="2021-07-08T09:03:38.917" v="2882" actId="962"/>
          <ac:spMkLst>
            <pc:docMk/>
            <pc:sldMk cId="765452453" sldId="281"/>
            <ac:spMk id="2" creationId="{00000000-0000-0000-0000-000000000000}"/>
          </ac:spMkLst>
        </pc:spChg>
        <pc:spChg chg="mod">
          <ac:chgData name="Carbyne" userId="93d76288-529d-40ff-802e-9c196277caca" providerId="ADAL" clId="{238378A2-A190-4135-9A9F-7ECD399CC7F5}" dt="2021-07-08T07:32:28.515" v="2050" actId="20577"/>
          <ac:spMkLst>
            <pc:docMk/>
            <pc:sldMk cId="765452453" sldId="281"/>
            <ac:spMk id="3" creationId="{00000000-0000-0000-0000-000000000000}"/>
          </ac:spMkLst>
        </pc:spChg>
        <pc:spChg chg="add mod">
          <ac:chgData name="Carbyne" userId="93d76288-529d-40ff-802e-9c196277caca" providerId="ADAL" clId="{238378A2-A190-4135-9A9F-7ECD399CC7F5}" dt="2021-07-08T06:45:01.538" v="1270" actId="1076"/>
          <ac:spMkLst>
            <pc:docMk/>
            <pc:sldMk cId="765452453" sldId="281"/>
            <ac:spMk id="5" creationId="{327E5AA1-3CA2-4DBA-9763-33BB7C3D0479}"/>
          </ac:spMkLst>
        </pc:spChg>
        <pc:spChg chg="add del">
          <ac:chgData name="Carbyne" userId="93d76288-529d-40ff-802e-9c196277caca" providerId="ADAL" clId="{238378A2-A190-4135-9A9F-7ECD399CC7F5}" dt="2021-07-08T06:43:53.544" v="1227"/>
          <ac:spMkLst>
            <pc:docMk/>
            <pc:sldMk cId="765452453" sldId="281"/>
            <ac:spMk id="7" creationId="{9B24453B-666A-4DA9-96A4-E48823934649}"/>
          </ac:spMkLst>
        </pc:spChg>
        <pc:spChg chg="add del mod">
          <ac:chgData name="Carbyne" userId="93d76288-529d-40ff-802e-9c196277caca" providerId="ADAL" clId="{238378A2-A190-4135-9A9F-7ECD399CC7F5}" dt="2021-07-08T06:44:10.017" v="1236" actId="767"/>
          <ac:spMkLst>
            <pc:docMk/>
            <pc:sldMk cId="765452453" sldId="281"/>
            <ac:spMk id="8" creationId="{A70A5067-B710-48F9-93FA-3A2260385CB8}"/>
          </ac:spMkLst>
        </pc:spChg>
        <pc:spChg chg="add del">
          <ac:chgData name="Carbyne" userId="93d76288-529d-40ff-802e-9c196277caca" providerId="ADAL" clId="{238378A2-A190-4135-9A9F-7ECD399CC7F5}" dt="2021-07-08T06:43:58.003" v="1230"/>
          <ac:spMkLst>
            <pc:docMk/>
            <pc:sldMk cId="765452453" sldId="281"/>
            <ac:spMk id="9" creationId="{086DA892-CB87-4966-A9ED-42868D7774CA}"/>
          </ac:spMkLst>
        </pc:spChg>
        <pc:spChg chg="add mod">
          <ac:chgData name="Carbyne" userId="93d76288-529d-40ff-802e-9c196277caca" providerId="ADAL" clId="{238378A2-A190-4135-9A9F-7ECD399CC7F5}" dt="2021-07-08T06:45:07.221" v="1271" actId="14100"/>
          <ac:spMkLst>
            <pc:docMk/>
            <pc:sldMk cId="765452453" sldId="281"/>
            <ac:spMk id="10" creationId="{972B92D5-121A-4221-8D43-36CDD50FA454}"/>
          </ac:spMkLst>
        </pc:spChg>
        <pc:spChg chg="add mod">
          <ac:chgData name="Carbyne" userId="93d76288-529d-40ff-802e-9c196277caca" providerId="ADAL" clId="{238378A2-A190-4135-9A9F-7ECD399CC7F5}" dt="2021-07-08T08:14:48.698" v="2434" actId="1076"/>
          <ac:spMkLst>
            <pc:docMk/>
            <pc:sldMk cId="765452453" sldId="281"/>
            <ac:spMk id="12" creationId="{71E5279F-FCED-4094-8D58-DC5AD13974E6}"/>
          </ac:spMkLst>
        </pc:spChg>
        <pc:grpChg chg="add mod">
          <ac:chgData name="Carbyne" userId="93d76288-529d-40ff-802e-9c196277caca" providerId="ADAL" clId="{238378A2-A190-4135-9A9F-7ECD399CC7F5}" dt="2021-07-08T06:44:59.413" v="1269" actId="1076"/>
          <ac:grpSpMkLst>
            <pc:docMk/>
            <pc:sldMk cId="765452453" sldId="281"/>
            <ac:grpSpMk id="6" creationId="{773ED000-D065-4B98-8C90-EB2F94B2D1E9}"/>
          </ac:grpSpMkLst>
        </pc:grpChg>
        <pc:picChg chg="add del mod">
          <ac:chgData name="Carbyne" userId="93d76288-529d-40ff-802e-9c196277caca" providerId="ADAL" clId="{238378A2-A190-4135-9A9F-7ECD399CC7F5}" dt="2021-07-08T08:12:21.781" v="2431" actId="478"/>
          <ac:picMkLst>
            <pc:docMk/>
            <pc:sldMk cId="765452453" sldId="281"/>
            <ac:picMk id="13" creationId="{67A191D0-349C-44A3-88AA-E7F7CC1CFE20}"/>
          </ac:picMkLst>
        </pc:picChg>
        <pc:picChg chg="add mod">
          <ac:chgData name="Carbyne" userId="93d76288-529d-40ff-802e-9c196277caca" providerId="ADAL" clId="{238378A2-A190-4135-9A9F-7ECD399CC7F5}" dt="2021-07-08T09:03:50.543" v="2884" actId="1076"/>
          <ac:picMkLst>
            <pc:docMk/>
            <pc:sldMk cId="765452453" sldId="281"/>
            <ac:picMk id="15" creationId="{997FA763-D976-48AE-8C57-EC0CE3E58CF2}"/>
          </ac:picMkLst>
        </pc:picChg>
        <pc:picChg chg="add del mod">
          <ac:chgData name="Carbyne" userId="93d76288-529d-40ff-802e-9c196277caca" providerId="ADAL" clId="{238378A2-A190-4135-9A9F-7ECD399CC7F5}" dt="2021-07-08T09:02:42.937" v="2875" actId="478"/>
          <ac:picMkLst>
            <pc:docMk/>
            <pc:sldMk cId="765452453" sldId="281"/>
            <ac:picMk id="17" creationId="{49019072-93CE-4206-B4A8-D54E2AAA2231}"/>
          </ac:picMkLst>
        </pc:picChg>
        <pc:picChg chg="add mod">
          <ac:chgData name="Carbyne" userId="93d76288-529d-40ff-802e-9c196277caca" providerId="ADAL" clId="{238378A2-A190-4135-9A9F-7ECD399CC7F5}" dt="2021-07-08T09:03:38.916" v="2881" actId="27614"/>
          <ac:picMkLst>
            <pc:docMk/>
            <pc:sldMk cId="765452453" sldId="281"/>
            <ac:picMk id="19" creationId="{65F9E9A3-0AD7-4C9E-A0ED-76D2D4D0EDDE}"/>
          </ac:picMkLst>
        </pc:picChg>
        <pc:picChg chg="add mod">
          <ac:chgData name="Carbyne" userId="93d76288-529d-40ff-802e-9c196277caca" providerId="ADAL" clId="{238378A2-A190-4135-9A9F-7ECD399CC7F5}" dt="2021-07-08T06:44:59.413" v="1269" actId="1076"/>
          <ac:picMkLst>
            <pc:docMk/>
            <pc:sldMk cId="765452453" sldId="281"/>
            <ac:picMk id="4098" creationId="{637A3019-0AC2-4F86-A429-ED7D75E53F66}"/>
          </ac:picMkLst>
        </pc:picChg>
      </pc:sldChg>
      <pc:sldChg chg="addSp delSp modSp add mod modAnim">
        <pc:chgData name="Carbyne" userId="93d76288-529d-40ff-802e-9c196277caca" providerId="ADAL" clId="{238378A2-A190-4135-9A9F-7ECD399CC7F5}" dt="2021-07-08T08:22:02.953" v="2630"/>
        <pc:sldMkLst>
          <pc:docMk/>
          <pc:sldMk cId="868692132" sldId="282"/>
        </pc:sldMkLst>
        <pc:spChg chg="mod">
          <ac:chgData name="Carbyne" userId="93d76288-529d-40ff-802e-9c196277caca" providerId="ADAL" clId="{238378A2-A190-4135-9A9F-7ECD399CC7F5}" dt="2021-07-08T06:05:47.020" v="274" actId="20577"/>
          <ac:spMkLst>
            <pc:docMk/>
            <pc:sldMk cId="868692132" sldId="282"/>
            <ac:spMk id="2" creationId="{00000000-0000-0000-0000-000000000000}"/>
          </ac:spMkLst>
        </pc:spChg>
        <pc:spChg chg="mod">
          <ac:chgData name="Carbyne" userId="93d76288-529d-40ff-802e-9c196277caca" providerId="ADAL" clId="{238378A2-A190-4135-9A9F-7ECD399CC7F5}" dt="2021-07-08T07:56:21.233" v="2395" actId="20577"/>
          <ac:spMkLst>
            <pc:docMk/>
            <pc:sldMk cId="868692132" sldId="282"/>
            <ac:spMk id="3" creationId="{00000000-0000-0000-0000-000000000000}"/>
          </ac:spMkLst>
        </pc:spChg>
        <pc:spChg chg="add mod">
          <ac:chgData name="Carbyne" userId="93d76288-529d-40ff-802e-9c196277caca" providerId="ADAL" clId="{238378A2-A190-4135-9A9F-7ECD399CC7F5}" dt="2021-07-08T06:18:28.708" v="398" actId="368"/>
          <ac:spMkLst>
            <pc:docMk/>
            <pc:sldMk cId="868692132" sldId="282"/>
            <ac:spMk id="7" creationId="{E25806EB-1196-4849-9F8D-CB05DCBC60A5}"/>
          </ac:spMkLst>
        </pc:spChg>
        <pc:spChg chg="add mod topLvl">
          <ac:chgData name="Carbyne" userId="93d76288-529d-40ff-802e-9c196277caca" providerId="ADAL" clId="{238378A2-A190-4135-9A9F-7ECD399CC7F5}" dt="2021-07-08T06:31:34.613" v="552" actId="164"/>
          <ac:spMkLst>
            <pc:docMk/>
            <pc:sldMk cId="868692132" sldId="282"/>
            <ac:spMk id="13" creationId="{C215C97C-F21C-4029-B068-B0162C48FF40}"/>
          </ac:spMkLst>
        </pc:spChg>
        <pc:spChg chg="add mod ord">
          <ac:chgData name="Carbyne" userId="93d76288-529d-40ff-802e-9c196277caca" providerId="ADAL" clId="{238378A2-A190-4135-9A9F-7ECD399CC7F5}" dt="2021-07-08T06:32:00.351" v="557" actId="167"/>
          <ac:spMkLst>
            <pc:docMk/>
            <pc:sldMk cId="868692132" sldId="282"/>
            <ac:spMk id="14" creationId="{B6F1C297-E568-4980-8740-195E82265F97}"/>
          </ac:spMkLst>
        </pc:spChg>
        <pc:spChg chg="add del mod">
          <ac:chgData name="Carbyne" userId="93d76288-529d-40ff-802e-9c196277caca" providerId="ADAL" clId="{238378A2-A190-4135-9A9F-7ECD399CC7F5}" dt="2021-07-08T06:22:06.973" v="459"/>
          <ac:spMkLst>
            <pc:docMk/>
            <pc:sldMk cId="868692132" sldId="282"/>
            <ac:spMk id="15" creationId="{26F9C07B-BA7A-4CF4-A4D6-2494EF7AAEBB}"/>
          </ac:spMkLst>
        </pc:spChg>
        <pc:spChg chg="add del mod ord topLvl">
          <ac:chgData name="Carbyne" userId="93d76288-529d-40ff-802e-9c196277caca" providerId="ADAL" clId="{238378A2-A190-4135-9A9F-7ECD399CC7F5}" dt="2021-07-08T06:32:03.968" v="559" actId="21"/>
          <ac:spMkLst>
            <pc:docMk/>
            <pc:sldMk cId="868692132" sldId="282"/>
            <ac:spMk id="16" creationId="{37BE7011-D608-43CD-A636-EDCF1331A517}"/>
          </ac:spMkLst>
        </pc:spChg>
        <pc:spChg chg="add del mod">
          <ac:chgData name="Carbyne" userId="93d76288-529d-40ff-802e-9c196277caca" providerId="ADAL" clId="{238378A2-A190-4135-9A9F-7ECD399CC7F5}" dt="2021-07-08T06:21:55.484" v="452"/>
          <ac:spMkLst>
            <pc:docMk/>
            <pc:sldMk cId="868692132" sldId="282"/>
            <ac:spMk id="17" creationId="{38CCB51A-EE05-4F30-8C41-D9F0412D8C8A}"/>
          </ac:spMkLst>
        </pc:spChg>
        <pc:spChg chg="add mod ord">
          <ac:chgData name="Carbyne" userId="93d76288-529d-40ff-802e-9c196277caca" providerId="ADAL" clId="{238378A2-A190-4135-9A9F-7ECD399CC7F5}" dt="2021-07-08T06:32:00.351" v="557" actId="167"/>
          <ac:spMkLst>
            <pc:docMk/>
            <pc:sldMk cId="868692132" sldId="282"/>
            <ac:spMk id="18" creationId="{86E6D26F-E5A7-465A-8990-34D6D900ABE7}"/>
          </ac:spMkLst>
        </pc:spChg>
        <pc:spChg chg="add mod">
          <ac:chgData name="Carbyne" userId="93d76288-529d-40ff-802e-9c196277caca" providerId="ADAL" clId="{238378A2-A190-4135-9A9F-7ECD399CC7F5}" dt="2021-07-08T06:32:15.149" v="562" actId="164"/>
          <ac:spMkLst>
            <pc:docMk/>
            <pc:sldMk cId="868692132" sldId="282"/>
            <ac:spMk id="24" creationId="{41D51C4C-E3C5-42DB-AAAC-5E3C24554FC7}"/>
          </ac:spMkLst>
        </pc:spChg>
        <pc:spChg chg="add mod">
          <ac:chgData name="Carbyne" userId="93d76288-529d-40ff-802e-9c196277caca" providerId="ADAL" clId="{238378A2-A190-4135-9A9F-7ECD399CC7F5}" dt="2021-07-08T06:46:03.906" v="1392" actId="20577"/>
          <ac:spMkLst>
            <pc:docMk/>
            <pc:sldMk cId="868692132" sldId="282"/>
            <ac:spMk id="26" creationId="{CF05EE53-48A4-4876-93F7-6404599C2F09}"/>
          </ac:spMkLst>
        </pc:spChg>
        <pc:spChg chg="add mod">
          <ac:chgData name="Carbyne" userId="93d76288-529d-40ff-802e-9c196277caca" providerId="ADAL" clId="{238378A2-A190-4135-9A9F-7ECD399CC7F5}" dt="2021-07-08T08:21:50.699" v="2628" actId="1076"/>
          <ac:spMkLst>
            <pc:docMk/>
            <pc:sldMk cId="868692132" sldId="282"/>
            <ac:spMk id="27" creationId="{0FC0C18A-33C5-4C1B-A8A4-0406CFB30BC2}"/>
          </ac:spMkLst>
        </pc:spChg>
        <pc:spChg chg="add mod">
          <ac:chgData name="Carbyne" userId="93d76288-529d-40ff-802e-9c196277caca" providerId="ADAL" clId="{238378A2-A190-4135-9A9F-7ECD399CC7F5}" dt="2021-07-08T07:58:08.164" v="2421" actId="207"/>
          <ac:spMkLst>
            <pc:docMk/>
            <pc:sldMk cId="868692132" sldId="282"/>
            <ac:spMk id="28" creationId="{C97A055F-AD78-4470-BC61-91AB61486BB1}"/>
          </ac:spMkLst>
        </pc:spChg>
        <pc:spChg chg="add del mod">
          <ac:chgData name="Carbyne" userId="93d76288-529d-40ff-802e-9c196277caca" providerId="ADAL" clId="{238378A2-A190-4135-9A9F-7ECD399CC7F5}" dt="2021-07-08T06:59:02.732" v="1760" actId="478"/>
          <ac:spMkLst>
            <pc:docMk/>
            <pc:sldMk cId="868692132" sldId="282"/>
            <ac:spMk id="29" creationId="{66EF9C35-DE3A-4945-883D-F1FB256FAFB3}"/>
          </ac:spMkLst>
        </pc:spChg>
        <pc:spChg chg="add mod">
          <ac:chgData name="Carbyne" userId="93d76288-529d-40ff-802e-9c196277caca" providerId="ADAL" clId="{238378A2-A190-4135-9A9F-7ECD399CC7F5}" dt="2021-07-08T07:18:14.769" v="1788" actId="20577"/>
          <ac:spMkLst>
            <pc:docMk/>
            <pc:sldMk cId="868692132" sldId="282"/>
            <ac:spMk id="30" creationId="{57B5B3A0-E1ED-48E0-A850-764E806D1846}"/>
          </ac:spMkLst>
        </pc:spChg>
        <pc:spChg chg="add mod">
          <ac:chgData name="Carbyne" userId="93d76288-529d-40ff-802e-9c196277caca" providerId="ADAL" clId="{238378A2-A190-4135-9A9F-7ECD399CC7F5}" dt="2021-07-08T08:21:45.391" v="2627" actId="1076"/>
          <ac:spMkLst>
            <pc:docMk/>
            <pc:sldMk cId="868692132" sldId="282"/>
            <ac:spMk id="31" creationId="{47D99798-6564-42AD-8988-D7D2A9171211}"/>
          </ac:spMkLst>
        </pc:spChg>
        <pc:grpChg chg="add mod">
          <ac:chgData name="Carbyne" userId="93d76288-529d-40ff-802e-9c196277caca" providerId="ADAL" clId="{238378A2-A190-4135-9A9F-7ECD399CC7F5}" dt="2021-07-08T06:18:29.870" v="399" actId="1076"/>
          <ac:grpSpMkLst>
            <pc:docMk/>
            <pc:sldMk cId="868692132" sldId="282"/>
            <ac:grpSpMk id="8" creationId="{77175EEC-61A9-45D8-A11A-14FDD2496899}"/>
          </ac:grpSpMkLst>
        </pc:grpChg>
        <pc:grpChg chg="add del mod">
          <ac:chgData name="Carbyne" userId="93d76288-529d-40ff-802e-9c196277caca" providerId="ADAL" clId="{238378A2-A190-4135-9A9F-7ECD399CC7F5}" dt="2021-07-08T06:29:44.034" v="527" actId="164"/>
          <ac:grpSpMkLst>
            <pc:docMk/>
            <pc:sldMk cId="868692132" sldId="282"/>
            <ac:grpSpMk id="19" creationId="{0071DE3C-C4B0-449B-A47E-DEADDBEB2F83}"/>
          </ac:grpSpMkLst>
        </pc:grpChg>
        <pc:grpChg chg="add del mod topLvl">
          <ac:chgData name="Carbyne" userId="93d76288-529d-40ff-802e-9c196277caca" providerId="ADAL" clId="{238378A2-A190-4135-9A9F-7ECD399CC7F5}" dt="2021-07-08T06:31:29.704" v="551" actId="165"/>
          <ac:grpSpMkLst>
            <pc:docMk/>
            <pc:sldMk cId="868692132" sldId="282"/>
            <ac:grpSpMk id="20" creationId="{576388D7-5379-4DB7-A4C0-FA0452D0DD47}"/>
          </ac:grpSpMkLst>
        </pc:grpChg>
        <pc:grpChg chg="add mod ord topLvl">
          <ac:chgData name="Carbyne" userId="93d76288-529d-40ff-802e-9c196277caca" providerId="ADAL" clId="{238378A2-A190-4135-9A9F-7ECD399CC7F5}" dt="2021-07-08T06:31:34.613" v="552" actId="164"/>
          <ac:grpSpMkLst>
            <pc:docMk/>
            <pc:sldMk cId="868692132" sldId="282"/>
            <ac:grpSpMk id="21" creationId="{9A3318ED-2651-45ED-8D31-87FD326D35B2}"/>
          </ac:grpSpMkLst>
        </pc:grpChg>
        <pc:grpChg chg="add del mod ord">
          <ac:chgData name="Carbyne" userId="93d76288-529d-40ff-802e-9c196277caca" providerId="ADAL" clId="{238378A2-A190-4135-9A9F-7ECD399CC7F5}" dt="2021-07-08T06:31:15.145" v="549" actId="165"/>
          <ac:grpSpMkLst>
            <pc:docMk/>
            <pc:sldMk cId="868692132" sldId="282"/>
            <ac:grpSpMk id="22" creationId="{0AF8EADA-3045-4707-B171-C78579B2B04C}"/>
          </ac:grpSpMkLst>
        </pc:grpChg>
        <pc:grpChg chg="add mod">
          <ac:chgData name="Carbyne" userId="93d76288-529d-40ff-802e-9c196277caca" providerId="ADAL" clId="{238378A2-A190-4135-9A9F-7ECD399CC7F5}" dt="2021-07-08T06:32:15.149" v="562" actId="164"/>
          <ac:grpSpMkLst>
            <pc:docMk/>
            <pc:sldMk cId="868692132" sldId="282"/>
            <ac:grpSpMk id="23" creationId="{2054BA75-09A8-4AA0-8C7D-259B998EDD6B}"/>
          </ac:grpSpMkLst>
        </pc:grpChg>
        <pc:grpChg chg="add del mod">
          <ac:chgData name="Carbyne" userId="93d76288-529d-40ff-802e-9c196277caca" providerId="ADAL" clId="{238378A2-A190-4135-9A9F-7ECD399CC7F5}" dt="2021-07-08T06:32:18.125" v="564" actId="21"/>
          <ac:grpSpMkLst>
            <pc:docMk/>
            <pc:sldMk cId="868692132" sldId="282"/>
            <ac:grpSpMk id="25" creationId="{8A25C4A5-01ED-4FE7-8AAD-B5E55C6B98CE}"/>
          </ac:grpSpMkLst>
        </pc:grpChg>
        <pc:picChg chg="add mod">
          <ac:chgData name="Carbyne" userId="93d76288-529d-40ff-802e-9c196277caca" providerId="ADAL" clId="{238378A2-A190-4135-9A9F-7ECD399CC7F5}" dt="2021-07-08T06:11:44.800" v="312" actId="164"/>
          <ac:picMkLst>
            <pc:docMk/>
            <pc:sldMk cId="868692132" sldId="282"/>
            <ac:picMk id="6" creationId="{920AABA6-4264-4EE8-BE94-F8802F2C8CF7}"/>
          </ac:picMkLst>
        </pc:picChg>
        <pc:picChg chg="add del">
          <ac:chgData name="Carbyne" userId="93d76288-529d-40ff-802e-9c196277caca" providerId="ADAL" clId="{238378A2-A190-4135-9A9F-7ECD399CC7F5}" dt="2021-07-08T06:13:00.744" v="314" actId="22"/>
          <ac:picMkLst>
            <pc:docMk/>
            <pc:sldMk cId="868692132" sldId="282"/>
            <ac:picMk id="10" creationId="{91E8C978-AD85-4FF4-A23D-83E21AFA2543}"/>
          </ac:picMkLst>
        </pc:picChg>
        <pc:picChg chg="add mod ord topLvl">
          <ac:chgData name="Carbyne" userId="93d76288-529d-40ff-802e-9c196277caca" providerId="ADAL" clId="{238378A2-A190-4135-9A9F-7ECD399CC7F5}" dt="2021-07-08T06:32:00.351" v="557" actId="167"/>
          <ac:picMkLst>
            <pc:docMk/>
            <pc:sldMk cId="868692132" sldId="282"/>
            <ac:picMk id="12" creationId="{AFC2DE86-984A-4DF8-B432-EB2879109D81}"/>
          </ac:picMkLst>
        </pc:picChg>
      </pc:sldChg>
      <pc:sldChg chg="addSp delSp modSp add mod modAnim addCm delCm">
        <pc:chgData name="Carbyne" userId="93d76288-529d-40ff-802e-9c196277caca" providerId="ADAL" clId="{238378A2-A190-4135-9A9F-7ECD399CC7F5}" dt="2021-07-08T08:25:09.394" v="2867" actId="1592"/>
        <pc:sldMkLst>
          <pc:docMk/>
          <pc:sldMk cId="4046701006" sldId="283"/>
        </pc:sldMkLst>
        <pc:spChg chg="mod">
          <ac:chgData name="Carbyne" userId="93d76288-529d-40ff-802e-9c196277caca" providerId="ADAL" clId="{238378A2-A190-4135-9A9F-7ECD399CC7F5}" dt="2021-07-08T06:32:44.446" v="570"/>
          <ac:spMkLst>
            <pc:docMk/>
            <pc:sldMk cId="4046701006" sldId="283"/>
            <ac:spMk id="2" creationId="{00000000-0000-0000-0000-000000000000}"/>
          </ac:spMkLst>
        </pc:spChg>
        <pc:spChg chg="mod">
          <ac:chgData name="Carbyne" userId="93d76288-529d-40ff-802e-9c196277caca" providerId="ADAL" clId="{238378A2-A190-4135-9A9F-7ECD399CC7F5}" dt="2021-07-08T07:32:33.880" v="2052"/>
          <ac:spMkLst>
            <pc:docMk/>
            <pc:sldMk cId="4046701006" sldId="283"/>
            <ac:spMk id="3" creationId="{00000000-0000-0000-0000-000000000000}"/>
          </ac:spMkLst>
        </pc:spChg>
        <pc:spChg chg="mod">
          <ac:chgData name="Carbyne" userId="93d76288-529d-40ff-802e-9c196277caca" providerId="ADAL" clId="{238378A2-A190-4135-9A9F-7ECD399CC7F5}" dt="2021-07-08T06:32:19.173" v="565"/>
          <ac:spMkLst>
            <pc:docMk/>
            <pc:sldMk cId="4046701006" sldId="283"/>
            <ac:spMk id="7" creationId="{A654A569-6829-4555-A6B2-8BD21F529DB0}"/>
          </ac:spMkLst>
        </pc:spChg>
        <pc:spChg chg="mod">
          <ac:chgData name="Carbyne" userId="93d76288-529d-40ff-802e-9c196277caca" providerId="ADAL" clId="{238378A2-A190-4135-9A9F-7ECD399CC7F5}" dt="2021-07-08T06:32:19.173" v="565"/>
          <ac:spMkLst>
            <pc:docMk/>
            <pc:sldMk cId="4046701006" sldId="283"/>
            <ac:spMk id="9" creationId="{62B1CE40-97C7-4928-8F04-DD437BCBC4D2}"/>
          </ac:spMkLst>
        </pc:spChg>
        <pc:spChg chg="mod">
          <ac:chgData name="Carbyne" userId="93d76288-529d-40ff-802e-9c196277caca" providerId="ADAL" clId="{238378A2-A190-4135-9A9F-7ECD399CC7F5}" dt="2021-07-08T06:32:19.173" v="565"/>
          <ac:spMkLst>
            <pc:docMk/>
            <pc:sldMk cId="4046701006" sldId="283"/>
            <ac:spMk id="11" creationId="{69FD7111-7792-49A6-9672-E7F36C361D67}"/>
          </ac:spMkLst>
        </pc:spChg>
        <pc:spChg chg="mod">
          <ac:chgData name="Carbyne" userId="93d76288-529d-40ff-802e-9c196277caca" providerId="ADAL" clId="{238378A2-A190-4135-9A9F-7ECD399CC7F5}" dt="2021-07-08T06:32:19.173" v="565"/>
          <ac:spMkLst>
            <pc:docMk/>
            <pc:sldMk cId="4046701006" sldId="283"/>
            <ac:spMk id="12" creationId="{569CBADC-E57F-4D66-885E-A7269E82EB98}"/>
          </ac:spMkLst>
        </pc:spChg>
        <pc:spChg chg="add mod">
          <ac:chgData name="Carbyne" userId="93d76288-529d-40ff-802e-9c196277caca" providerId="ADAL" clId="{238378A2-A190-4135-9A9F-7ECD399CC7F5}" dt="2021-07-08T06:40:57.630" v="1187" actId="20577"/>
          <ac:spMkLst>
            <pc:docMk/>
            <pc:sldMk cId="4046701006" sldId="283"/>
            <ac:spMk id="13" creationId="{2BABCDF6-DD00-446A-B0DF-10FD4C257C1E}"/>
          </ac:spMkLst>
        </pc:spChg>
        <pc:spChg chg="add del mod">
          <ac:chgData name="Carbyne" userId="93d76288-529d-40ff-802e-9c196277caca" providerId="ADAL" clId="{238378A2-A190-4135-9A9F-7ECD399CC7F5}" dt="2021-07-08T07:56:30.711" v="2396" actId="478"/>
          <ac:spMkLst>
            <pc:docMk/>
            <pc:sldMk cId="4046701006" sldId="283"/>
            <ac:spMk id="14" creationId="{75B0A5ED-6FA3-4F0B-9110-4DB5DAA4E92D}"/>
          </ac:spMkLst>
        </pc:spChg>
        <pc:spChg chg="add del mod">
          <ac:chgData name="Carbyne" userId="93d76288-529d-40ff-802e-9c196277caca" providerId="ADAL" clId="{238378A2-A190-4135-9A9F-7ECD399CC7F5}" dt="2021-07-08T06:55:21.763" v="1737"/>
          <ac:spMkLst>
            <pc:docMk/>
            <pc:sldMk cId="4046701006" sldId="283"/>
            <ac:spMk id="15" creationId="{EDAAE117-EF84-4AA1-A031-01DDC3C90045}"/>
          </ac:spMkLst>
        </pc:spChg>
        <pc:spChg chg="add del mod">
          <ac:chgData name="Carbyne" userId="93d76288-529d-40ff-802e-9c196277caca" providerId="ADAL" clId="{238378A2-A190-4135-9A9F-7ECD399CC7F5}" dt="2021-07-08T06:59:06.232" v="1761" actId="478"/>
          <ac:spMkLst>
            <pc:docMk/>
            <pc:sldMk cId="4046701006" sldId="283"/>
            <ac:spMk id="16" creationId="{173A70A5-21AE-4D14-9F61-E5293FFE2824}"/>
          </ac:spMkLst>
        </pc:spChg>
        <pc:spChg chg="add mod">
          <ac:chgData name="Carbyne" userId="93d76288-529d-40ff-802e-9c196277caca" providerId="ADAL" clId="{238378A2-A190-4135-9A9F-7ECD399CC7F5}" dt="2021-07-08T08:24:55.309" v="2865" actId="1076"/>
          <ac:spMkLst>
            <pc:docMk/>
            <pc:sldMk cId="4046701006" sldId="283"/>
            <ac:spMk id="17" creationId="{EF3E3C6C-D709-4C21-97FE-152497E0FED8}"/>
          </ac:spMkLst>
        </pc:spChg>
        <pc:spChg chg="add mod">
          <ac:chgData name="Carbyne" userId="93d76288-529d-40ff-802e-9c196277caca" providerId="ADAL" clId="{238378A2-A190-4135-9A9F-7ECD399CC7F5}" dt="2021-07-08T08:25:00.113" v="2866" actId="20577"/>
          <ac:spMkLst>
            <pc:docMk/>
            <pc:sldMk cId="4046701006" sldId="283"/>
            <ac:spMk id="18" creationId="{BCD7E9FA-6D63-4E4E-B6D4-5F58641FAECE}"/>
          </ac:spMkLst>
        </pc:spChg>
        <pc:grpChg chg="add mod">
          <ac:chgData name="Carbyne" userId="93d76288-529d-40ff-802e-9c196277caca" providerId="ADAL" clId="{238378A2-A190-4135-9A9F-7ECD399CC7F5}" dt="2021-07-08T08:24:49.094" v="2864" actId="1076"/>
          <ac:grpSpMkLst>
            <pc:docMk/>
            <pc:sldMk cId="4046701006" sldId="283"/>
            <ac:grpSpMk id="5" creationId="{07A08AE9-DA6A-42BA-AC15-238153110577}"/>
          </ac:grpSpMkLst>
        </pc:grpChg>
        <pc:grpChg chg="mod">
          <ac:chgData name="Carbyne" userId="93d76288-529d-40ff-802e-9c196277caca" providerId="ADAL" clId="{238378A2-A190-4135-9A9F-7ECD399CC7F5}" dt="2021-07-08T06:32:19.173" v="565"/>
          <ac:grpSpMkLst>
            <pc:docMk/>
            <pc:sldMk cId="4046701006" sldId="283"/>
            <ac:grpSpMk id="6" creationId="{7201E77A-FEE0-4518-A3EC-F9082B052B33}"/>
          </ac:grpSpMkLst>
        </pc:grpChg>
        <pc:grpChg chg="mod">
          <ac:chgData name="Carbyne" userId="93d76288-529d-40ff-802e-9c196277caca" providerId="ADAL" clId="{238378A2-A190-4135-9A9F-7ECD399CC7F5}" dt="2021-07-08T06:32:19.173" v="565"/>
          <ac:grpSpMkLst>
            <pc:docMk/>
            <pc:sldMk cId="4046701006" sldId="283"/>
            <ac:grpSpMk id="10" creationId="{63D619EE-6E7F-4F9C-AE63-CEB44CD5D436}"/>
          </ac:grpSpMkLst>
        </pc:grpChg>
        <pc:picChg chg="mod">
          <ac:chgData name="Carbyne" userId="93d76288-529d-40ff-802e-9c196277caca" providerId="ADAL" clId="{238378A2-A190-4135-9A9F-7ECD399CC7F5}" dt="2021-07-08T06:32:19.173" v="565"/>
          <ac:picMkLst>
            <pc:docMk/>
            <pc:sldMk cId="4046701006" sldId="283"/>
            <ac:picMk id="8" creationId="{1D16AE32-C615-4651-92AA-8E6B90975E5E}"/>
          </ac:picMkLst>
        </pc:picChg>
      </pc:sldChg>
      <pc:sldChg chg="addSp delSp modSp add mod modAnim modNotesTx">
        <pc:chgData name="Carbyne" userId="93d76288-529d-40ff-802e-9c196277caca" providerId="ADAL" clId="{238378A2-A190-4135-9A9F-7ECD399CC7F5}" dt="2021-07-08T08:19:26.035" v="2541"/>
        <pc:sldMkLst>
          <pc:docMk/>
          <pc:sldMk cId="3336402189" sldId="284"/>
        </pc:sldMkLst>
        <pc:spChg chg="mod">
          <ac:chgData name="Carbyne" userId="93d76288-529d-40ff-802e-9c196277caca" providerId="ADAL" clId="{238378A2-A190-4135-9A9F-7ECD399CC7F5}" dt="2021-07-08T07:32:31.955" v="2051"/>
          <ac:spMkLst>
            <pc:docMk/>
            <pc:sldMk cId="3336402189" sldId="284"/>
            <ac:spMk id="3" creationId="{00000000-0000-0000-0000-000000000000}"/>
          </ac:spMkLst>
        </pc:spChg>
        <pc:spChg chg="add mod">
          <ac:chgData name="Carbyne" userId="93d76288-529d-40ff-802e-9c196277caca" providerId="ADAL" clId="{238378A2-A190-4135-9A9F-7ECD399CC7F5}" dt="2021-07-08T06:46:48.294" v="1435" actId="1076"/>
          <ac:spMkLst>
            <pc:docMk/>
            <pc:sldMk cId="3336402189" sldId="284"/>
            <ac:spMk id="5" creationId="{DE7932B6-3EDC-400C-B4D4-2232726BED66}"/>
          </ac:spMkLst>
        </pc:spChg>
        <pc:spChg chg="add del mod">
          <ac:chgData name="Carbyne" userId="93d76288-529d-40ff-802e-9c196277caca" providerId="ADAL" clId="{238378A2-A190-4135-9A9F-7ECD399CC7F5}" dt="2021-07-08T07:50:19.001" v="2335" actId="1076"/>
          <ac:spMkLst>
            <pc:docMk/>
            <pc:sldMk cId="3336402189" sldId="284"/>
            <ac:spMk id="9" creationId="{7D8C5E80-197D-4637-AEE2-1BEA626EE002}"/>
          </ac:spMkLst>
        </pc:spChg>
        <pc:spChg chg="add mod">
          <ac:chgData name="Carbyne" userId="93d76288-529d-40ff-802e-9c196277caca" providerId="ADAL" clId="{238378A2-A190-4135-9A9F-7ECD399CC7F5}" dt="2021-07-08T08:19:17.335" v="2537" actId="1076"/>
          <ac:spMkLst>
            <pc:docMk/>
            <pc:sldMk cId="3336402189" sldId="284"/>
            <ac:spMk id="11" creationId="{D662FA85-3F8F-4C66-A372-F06B9AA4DF99}"/>
          </ac:spMkLst>
        </pc:spChg>
        <pc:spChg chg="del">
          <ac:chgData name="Carbyne" userId="93d76288-529d-40ff-802e-9c196277caca" providerId="ADAL" clId="{238378A2-A190-4135-9A9F-7ECD399CC7F5}" dt="2021-07-08T06:46:26.465" v="1396" actId="478"/>
          <ac:spMkLst>
            <pc:docMk/>
            <pc:sldMk cId="3336402189" sldId="284"/>
            <ac:spMk id="26" creationId="{CF05EE53-48A4-4876-93F7-6404599C2F09}"/>
          </ac:spMkLst>
        </pc:spChg>
        <pc:spChg chg="del">
          <ac:chgData name="Carbyne" userId="93d76288-529d-40ff-802e-9c196277caca" providerId="ADAL" clId="{238378A2-A190-4135-9A9F-7ECD399CC7F5}" dt="2021-07-08T06:46:24.707" v="1395" actId="478"/>
          <ac:spMkLst>
            <pc:docMk/>
            <pc:sldMk cId="3336402189" sldId="284"/>
            <ac:spMk id="27" creationId="{0FC0C18A-33C5-4C1B-A8A4-0406CFB30BC2}"/>
          </ac:spMkLst>
        </pc:spChg>
        <pc:spChg chg="del">
          <ac:chgData name="Carbyne" userId="93d76288-529d-40ff-802e-9c196277caca" providerId="ADAL" clId="{238378A2-A190-4135-9A9F-7ECD399CC7F5}" dt="2021-07-08T06:46:24.707" v="1395" actId="478"/>
          <ac:spMkLst>
            <pc:docMk/>
            <pc:sldMk cId="3336402189" sldId="284"/>
            <ac:spMk id="28" creationId="{C97A055F-AD78-4470-BC61-91AB61486BB1}"/>
          </ac:spMkLst>
        </pc:spChg>
        <pc:grpChg chg="del">
          <ac:chgData name="Carbyne" userId="93d76288-529d-40ff-802e-9c196277caca" providerId="ADAL" clId="{238378A2-A190-4135-9A9F-7ECD399CC7F5}" dt="2021-07-08T06:46:22.336" v="1394" actId="478"/>
          <ac:grpSpMkLst>
            <pc:docMk/>
            <pc:sldMk cId="3336402189" sldId="284"/>
            <ac:grpSpMk id="8" creationId="{77175EEC-61A9-45D8-A11A-14FDD2496899}"/>
          </ac:grpSpMkLst>
        </pc:grpChg>
        <pc:grpChg chg="add mod">
          <ac:chgData name="Carbyne" userId="93d76288-529d-40ff-802e-9c196277caca" providerId="ADAL" clId="{238378A2-A190-4135-9A9F-7ECD399CC7F5}" dt="2021-07-08T07:50:19.001" v="2335" actId="1076"/>
          <ac:grpSpMkLst>
            <pc:docMk/>
            <pc:sldMk cId="3336402189" sldId="284"/>
            <ac:grpSpMk id="10" creationId="{76723AF7-C4A0-44A7-A3CB-FF710D025B0F}"/>
          </ac:grpSpMkLst>
        </pc:grpChg>
        <pc:picChg chg="add mod">
          <ac:chgData name="Carbyne" userId="93d76288-529d-40ff-802e-9c196277caca" providerId="ADAL" clId="{238378A2-A190-4135-9A9F-7ECD399CC7F5}" dt="2021-07-08T07:50:19.001" v="2335" actId="1076"/>
          <ac:picMkLst>
            <pc:docMk/>
            <pc:sldMk cId="3336402189" sldId="284"/>
            <ac:picMk id="5122" creationId="{936FFC86-90DB-4D7B-A449-894A6245B6F1}"/>
          </ac:picMkLst>
        </pc:picChg>
      </pc:sldChg>
    </pc:docChg>
  </pc:docChgLst>
  <pc:docChgLst>
    <pc:chgData name="Carbyne" userId="93d76288-529d-40ff-802e-9c196277caca" providerId="ADAL" clId="{34B0905A-984E-4143-B117-EB4075EFBE72}"/>
    <pc:docChg chg="undo custSel addSld delSld modSld">
      <pc:chgData name="Carbyne" userId="93d76288-529d-40ff-802e-9c196277caca" providerId="ADAL" clId="{34B0905A-984E-4143-B117-EB4075EFBE72}" dt="2021-07-09T02:53:41.311" v="1605" actId="1076"/>
      <pc:docMkLst>
        <pc:docMk/>
      </pc:docMkLst>
      <pc:sldChg chg="addSp delSp modSp mod">
        <pc:chgData name="Carbyne" userId="93d76288-529d-40ff-802e-9c196277caca" providerId="ADAL" clId="{34B0905A-984E-4143-B117-EB4075EFBE72}" dt="2021-07-09T01:50:04.192" v="418" actId="20577"/>
        <pc:sldMkLst>
          <pc:docMk/>
          <pc:sldMk cId="2371597387" sldId="258"/>
        </pc:sldMkLst>
        <pc:spChg chg="add del mod">
          <ac:chgData name="Carbyne" userId="93d76288-529d-40ff-802e-9c196277caca" providerId="ADAL" clId="{34B0905A-984E-4143-B117-EB4075EFBE72}" dt="2021-07-09T01:49:48.591" v="362" actId="478"/>
          <ac:spMkLst>
            <pc:docMk/>
            <pc:sldMk cId="2371597387" sldId="258"/>
            <ac:spMk id="3" creationId="{1FD31D4F-BABD-4ED9-B873-9791C53C7BC7}"/>
          </ac:spMkLst>
        </pc:spChg>
        <pc:spChg chg="del">
          <ac:chgData name="Carbyne" userId="93d76288-529d-40ff-802e-9c196277caca" providerId="ADAL" clId="{34B0905A-984E-4143-B117-EB4075EFBE72}" dt="2021-07-09T01:49:44.440" v="359" actId="478"/>
          <ac:spMkLst>
            <pc:docMk/>
            <pc:sldMk cId="2371597387" sldId="258"/>
            <ac:spMk id="5" creationId="{00000000-0000-0000-0000-000000000000}"/>
          </ac:spMkLst>
        </pc:spChg>
        <pc:spChg chg="del">
          <ac:chgData name="Carbyne" userId="93d76288-529d-40ff-802e-9c196277caca" providerId="ADAL" clId="{34B0905A-984E-4143-B117-EB4075EFBE72}" dt="2021-07-09T01:49:44.440" v="359" actId="478"/>
          <ac:spMkLst>
            <pc:docMk/>
            <pc:sldMk cId="2371597387" sldId="258"/>
            <ac:spMk id="6" creationId="{00000000-0000-0000-0000-000000000000}"/>
          </ac:spMkLst>
        </pc:spChg>
        <pc:spChg chg="add del mod">
          <ac:chgData name="Carbyne" userId="93d76288-529d-40ff-802e-9c196277caca" providerId="ADAL" clId="{34B0905A-984E-4143-B117-EB4075EFBE72}" dt="2021-07-09T01:49:48.591" v="362" actId="478"/>
          <ac:spMkLst>
            <pc:docMk/>
            <pc:sldMk cId="2371597387" sldId="258"/>
            <ac:spMk id="7" creationId="{A6EEB836-9846-4C1B-BB07-57AD24376178}"/>
          </ac:spMkLst>
        </pc:spChg>
        <pc:spChg chg="add del mod">
          <ac:chgData name="Carbyne" userId="93d76288-529d-40ff-802e-9c196277caca" providerId="ADAL" clId="{34B0905A-984E-4143-B117-EB4075EFBE72}" dt="2021-07-09T01:49:45.697" v="361"/>
          <ac:spMkLst>
            <pc:docMk/>
            <pc:sldMk cId="2371597387" sldId="258"/>
            <ac:spMk id="10" creationId="{71BF4847-93CD-4BDB-B1D9-426DE071741B}"/>
          </ac:spMkLst>
        </pc:spChg>
        <pc:spChg chg="add del mod">
          <ac:chgData name="Carbyne" userId="93d76288-529d-40ff-802e-9c196277caca" providerId="ADAL" clId="{34B0905A-984E-4143-B117-EB4075EFBE72}" dt="2021-07-09T01:49:45.697" v="361"/>
          <ac:spMkLst>
            <pc:docMk/>
            <pc:sldMk cId="2371597387" sldId="258"/>
            <ac:spMk id="11" creationId="{E6AA5517-BC0B-4B1B-ADC0-13647797CAA1}"/>
          </ac:spMkLst>
        </pc:spChg>
        <pc:spChg chg="add mod">
          <ac:chgData name="Carbyne" userId="93d76288-529d-40ff-802e-9c196277caca" providerId="ADAL" clId="{34B0905A-984E-4143-B117-EB4075EFBE72}" dt="2021-07-09T01:49:55.357" v="387" actId="20577"/>
          <ac:spMkLst>
            <pc:docMk/>
            <pc:sldMk cId="2371597387" sldId="258"/>
            <ac:spMk id="12" creationId="{F628237A-0915-49F6-899E-168799D2BEFE}"/>
          </ac:spMkLst>
        </pc:spChg>
        <pc:spChg chg="add mod">
          <ac:chgData name="Carbyne" userId="93d76288-529d-40ff-802e-9c196277caca" providerId="ADAL" clId="{34B0905A-984E-4143-B117-EB4075EFBE72}" dt="2021-07-09T01:50:04.192" v="418" actId="20577"/>
          <ac:spMkLst>
            <pc:docMk/>
            <pc:sldMk cId="2371597387" sldId="258"/>
            <ac:spMk id="13" creationId="{8E609FE8-090E-43DA-844B-B117864ECABD}"/>
          </ac:spMkLst>
        </pc:spChg>
      </pc:sldChg>
      <pc:sldChg chg="modSp mod">
        <pc:chgData name="Carbyne" userId="93d76288-529d-40ff-802e-9c196277caca" providerId="ADAL" clId="{34B0905A-984E-4143-B117-EB4075EFBE72}" dt="2021-07-09T01:58:21.446" v="450" actId="20577"/>
        <pc:sldMkLst>
          <pc:docMk/>
          <pc:sldMk cId="911933172" sldId="269"/>
        </pc:sldMkLst>
        <pc:spChg chg="mod">
          <ac:chgData name="Carbyne" userId="93d76288-529d-40ff-802e-9c196277caca" providerId="ADAL" clId="{34B0905A-984E-4143-B117-EB4075EFBE72}" dt="2021-07-09T01:58:21.446" v="450" actId="20577"/>
          <ac:spMkLst>
            <pc:docMk/>
            <pc:sldMk cId="911933172" sldId="269"/>
            <ac:spMk id="7" creationId="{48F70259-7598-4270-874A-6F50772D10F6}"/>
          </ac:spMkLst>
        </pc:spChg>
      </pc:sldChg>
      <pc:sldChg chg="modSp mod">
        <pc:chgData name="Carbyne" userId="93d76288-529d-40ff-802e-9c196277caca" providerId="ADAL" clId="{34B0905A-984E-4143-B117-EB4075EFBE72}" dt="2021-07-09T01:47:49.366" v="304" actId="1036"/>
        <pc:sldMkLst>
          <pc:docMk/>
          <pc:sldMk cId="1070264487" sldId="278"/>
        </pc:sldMkLst>
        <pc:spChg chg="mod">
          <ac:chgData name="Carbyne" userId="93d76288-529d-40ff-802e-9c196277caca" providerId="ADAL" clId="{34B0905A-984E-4143-B117-EB4075EFBE72}" dt="2021-07-09T01:47:40.360" v="300" actId="1076"/>
          <ac:spMkLst>
            <pc:docMk/>
            <pc:sldMk cId="1070264487" sldId="278"/>
            <ac:spMk id="5" creationId="{00000000-0000-0000-0000-000000000000}"/>
          </ac:spMkLst>
        </pc:spChg>
        <pc:spChg chg="mod">
          <ac:chgData name="Carbyne" userId="93d76288-529d-40ff-802e-9c196277caca" providerId="ADAL" clId="{34B0905A-984E-4143-B117-EB4075EFBE72}" dt="2021-07-09T01:47:49.366" v="304" actId="1036"/>
          <ac:spMkLst>
            <pc:docMk/>
            <pc:sldMk cId="1070264487" sldId="278"/>
            <ac:spMk id="6" creationId="{00000000-0000-0000-0000-000000000000}"/>
          </ac:spMkLst>
        </pc:spChg>
      </pc:sldChg>
      <pc:sldChg chg="addSp delSp modSp mod">
        <pc:chgData name="Carbyne" userId="93d76288-529d-40ff-802e-9c196277caca" providerId="ADAL" clId="{34B0905A-984E-4143-B117-EB4075EFBE72}" dt="2021-07-09T01:48:31.118" v="349" actId="20577"/>
        <pc:sldMkLst>
          <pc:docMk/>
          <pc:sldMk cId="2533396026" sldId="279"/>
        </pc:sldMkLst>
        <pc:spChg chg="add del mod">
          <ac:chgData name="Carbyne" userId="93d76288-529d-40ff-802e-9c196277caca" providerId="ADAL" clId="{34B0905A-984E-4143-B117-EB4075EFBE72}" dt="2021-07-09T01:48:14.620" v="308" actId="478"/>
          <ac:spMkLst>
            <pc:docMk/>
            <pc:sldMk cId="2533396026" sldId="279"/>
            <ac:spMk id="3" creationId="{57EDAD15-B7C1-41F2-A836-35E3EC6DA6EF}"/>
          </ac:spMkLst>
        </pc:spChg>
        <pc:spChg chg="del mod">
          <ac:chgData name="Carbyne" userId="93d76288-529d-40ff-802e-9c196277caca" providerId="ADAL" clId="{34B0905A-984E-4143-B117-EB4075EFBE72}" dt="2021-07-09T01:48:10.006" v="305" actId="478"/>
          <ac:spMkLst>
            <pc:docMk/>
            <pc:sldMk cId="2533396026" sldId="279"/>
            <ac:spMk id="5" creationId="{00000000-0000-0000-0000-000000000000}"/>
          </ac:spMkLst>
        </pc:spChg>
        <pc:spChg chg="del mod">
          <ac:chgData name="Carbyne" userId="93d76288-529d-40ff-802e-9c196277caca" providerId="ADAL" clId="{34B0905A-984E-4143-B117-EB4075EFBE72}" dt="2021-07-09T01:48:10.006" v="305" actId="478"/>
          <ac:spMkLst>
            <pc:docMk/>
            <pc:sldMk cId="2533396026" sldId="279"/>
            <ac:spMk id="6" creationId="{00000000-0000-0000-0000-000000000000}"/>
          </ac:spMkLst>
        </pc:spChg>
        <pc:spChg chg="add del mod">
          <ac:chgData name="Carbyne" userId="93d76288-529d-40ff-802e-9c196277caca" providerId="ADAL" clId="{34B0905A-984E-4143-B117-EB4075EFBE72}" dt="2021-07-09T01:48:14.620" v="308" actId="478"/>
          <ac:spMkLst>
            <pc:docMk/>
            <pc:sldMk cId="2533396026" sldId="279"/>
            <ac:spMk id="7" creationId="{07BA86F3-5D76-42E3-9B22-368EC4499B8E}"/>
          </ac:spMkLst>
        </pc:spChg>
        <pc:spChg chg="add del mod">
          <ac:chgData name="Carbyne" userId="93d76288-529d-40ff-802e-9c196277caca" providerId="ADAL" clId="{34B0905A-984E-4143-B117-EB4075EFBE72}" dt="2021-07-09T01:48:11.902" v="307"/>
          <ac:spMkLst>
            <pc:docMk/>
            <pc:sldMk cId="2533396026" sldId="279"/>
            <ac:spMk id="10" creationId="{48A07781-477B-4B34-A19F-DB7742F7F9E2}"/>
          </ac:spMkLst>
        </pc:spChg>
        <pc:spChg chg="add del mod">
          <ac:chgData name="Carbyne" userId="93d76288-529d-40ff-802e-9c196277caca" providerId="ADAL" clId="{34B0905A-984E-4143-B117-EB4075EFBE72}" dt="2021-07-09T01:48:11.902" v="307"/>
          <ac:spMkLst>
            <pc:docMk/>
            <pc:sldMk cId="2533396026" sldId="279"/>
            <ac:spMk id="11" creationId="{C7A27AA8-BB9E-45FD-89BD-FD2CE0B2E89C}"/>
          </ac:spMkLst>
        </pc:spChg>
        <pc:spChg chg="add mod">
          <ac:chgData name="Carbyne" userId="93d76288-529d-40ff-802e-9c196277caca" providerId="ADAL" clId="{34B0905A-984E-4143-B117-EB4075EFBE72}" dt="2021-07-09T01:48:19.728" v="319" actId="20577"/>
          <ac:spMkLst>
            <pc:docMk/>
            <pc:sldMk cId="2533396026" sldId="279"/>
            <ac:spMk id="12" creationId="{0DFEA787-07DC-409D-8AB4-47BCE7C277E3}"/>
          </ac:spMkLst>
        </pc:spChg>
        <pc:spChg chg="add mod">
          <ac:chgData name="Carbyne" userId="93d76288-529d-40ff-802e-9c196277caca" providerId="ADAL" clId="{34B0905A-984E-4143-B117-EB4075EFBE72}" dt="2021-07-09T01:48:31.118" v="349" actId="20577"/>
          <ac:spMkLst>
            <pc:docMk/>
            <pc:sldMk cId="2533396026" sldId="279"/>
            <ac:spMk id="13" creationId="{CC420DA6-55DC-4E71-8A67-4B61D3225553}"/>
          </ac:spMkLst>
        </pc:spChg>
      </pc:sldChg>
      <pc:sldChg chg="addSp delSp modSp add mod">
        <pc:chgData name="Carbyne" userId="93d76288-529d-40ff-802e-9c196277caca" providerId="ADAL" clId="{34B0905A-984E-4143-B117-EB4075EFBE72}" dt="2021-07-09T01:49:25.954" v="358" actId="478"/>
        <pc:sldMkLst>
          <pc:docMk/>
          <pc:sldMk cId="676117476" sldId="285"/>
        </pc:sldMkLst>
        <pc:spChg chg="add del mod">
          <ac:chgData name="Carbyne" userId="93d76288-529d-40ff-802e-9c196277caca" providerId="ADAL" clId="{34B0905A-984E-4143-B117-EB4075EFBE72}" dt="2021-07-09T01:49:25.954" v="358" actId="478"/>
          <ac:spMkLst>
            <pc:docMk/>
            <pc:sldMk cId="676117476" sldId="285"/>
            <ac:spMk id="3" creationId="{CBC9761B-3FD6-48EB-94C0-A6D9D21596B0}"/>
          </ac:spMkLst>
        </pc:spChg>
        <pc:spChg chg="del mod">
          <ac:chgData name="Carbyne" userId="93d76288-529d-40ff-802e-9c196277caca" providerId="ADAL" clId="{34B0905A-984E-4143-B117-EB4075EFBE72}" dt="2021-07-09T01:48:55.021" v="356" actId="478"/>
          <ac:spMkLst>
            <pc:docMk/>
            <pc:sldMk cId="676117476" sldId="285"/>
            <ac:spMk id="5" creationId="{00000000-0000-0000-0000-000000000000}"/>
          </ac:spMkLst>
        </pc:spChg>
        <pc:spChg chg="del mod">
          <ac:chgData name="Carbyne" userId="93d76288-529d-40ff-802e-9c196277caca" providerId="ADAL" clId="{34B0905A-984E-4143-B117-EB4075EFBE72}" dt="2021-07-09T01:48:55.021" v="356" actId="478"/>
          <ac:spMkLst>
            <pc:docMk/>
            <pc:sldMk cId="676117476" sldId="285"/>
            <ac:spMk id="6" creationId="{00000000-0000-0000-0000-000000000000}"/>
          </ac:spMkLst>
        </pc:spChg>
        <pc:spChg chg="add del mod">
          <ac:chgData name="Carbyne" userId="93d76288-529d-40ff-802e-9c196277caca" providerId="ADAL" clId="{34B0905A-984E-4143-B117-EB4075EFBE72}" dt="2021-07-09T01:48:37.672" v="351"/>
          <ac:spMkLst>
            <pc:docMk/>
            <pc:sldMk cId="676117476" sldId="285"/>
            <ac:spMk id="7" creationId="{7D8DD0D4-9D88-4E93-84F3-2D773E3C6E80}"/>
          </ac:spMkLst>
        </pc:spChg>
        <pc:spChg chg="add del mod">
          <ac:chgData name="Carbyne" userId="93d76288-529d-40ff-802e-9c196277caca" providerId="ADAL" clId="{34B0905A-984E-4143-B117-EB4075EFBE72}" dt="2021-07-09T01:48:37.672" v="351"/>
          <ac:spMkLst>
            <pc:docMk/>
            <pc:sldMk cId="676117476" sldId="285"/>
            <ac:spMk id="8" creationId="{1F27172A-89A4-47BF-98D1-39DB233928DD}"/>
          </ac:spMkLst>
        </pc:spChg>
        <pc:spChg chg="add mod">
          <ac:chgData name="Carbyne" userId="93d76288-529d-40ff-802e-9c196277caca" providerId="ADAL" clId="{34B0905A-984E-4143-B117-EB4075EFBE72}" dt="2021-07-09T01:48:47.326" v="354"/>
          <ac:spMkLst>
            <pc:docMk/>
            <pc:sldMk cId="676117476" sldId="285"/>
            <ac:spMk id="10" creationId="{AAF2BBA8-C967-46EC-B4E8-0103C16AF4B4}"/>
          </ac:spMkLst>
        </pc:spChg>
        <pc:spChg chg="add mod">
          <ac:chgData name="Carbyne" userId="93d76288-529d-40ff-802e-9c196277caca" providerId="ADAL" clId="{34B0905A-984E-4143-B117-EB4075EFBE72}" dt="2021-07-09T01:48:51.972" v="355"/>
          <ac:spMkLst>
            <pc:docMk/>
            <pc:sldMk cId="676117476" sldId="285"/>
            <ac:spMk id="11" creationId="{84D57D83-ABA2-4E32-BDF1-18280B79FC5E}"/>
          </ac:spMkLst>
        </pc:spChg>
        <pc:spChg chg="add del mod">
          <ac:chgData name="Carbyne" userId="93d76288-529d-40ff-802e-9c196277caca" providerId="ADAL" clId="{34B0905A-984E-4143-B117-EB4075EFBE72}" dt="2021-07-09T01:49:23.105" v="357" actId="478"/>
          <ac:spMkLst>
            <pc:docMk/>
            <pc:sldMk cId="676117476" sldId="285"/>
            <ac:spMk id="12" creationId="{C6DD1811-A8E9-42C1-A650-58FD5A9E573C}"/>
          </ac:spMkLst>
        </pc:spChg>
      </pc:sldChg>
      <pc:sldChg chg="addSp delSp modSp add mod addAnim delAnim modAnim">
        <pc:chgData name="Carbyne" userId="93d76288-529d-40ff-802e-9c196277caca" providerId="ADAL" clId="{34B0905A-984E-4143-B117-EB4075EFBE72}" dt="2021-07-09T02:06:43.124" v="613"/>
        <pc:sldMkLst>
          <pc:docMk/>
          <pc:sldMk cId="1438356899" sldId="286"/>
        </pc:sldMkLst>
        <pc:spChg chg="mod">
          <ac:chgData name="Carbyne" userId="93d76288-529d-40ff-802e-9c196277caca" providerId="ADAL" clId="{34B0905A-984E-4143-B117-EB4075EFBE72}" dt="2021-07-09T01:38:04.790" v="141" actId="1037"/>
          <ac:spMkLst>
            <pc:docMk/>
            <pc:sldMk cId="1438356899" sldId="286"/>
            <ac:spMk id="4" creationId="{00000000-0000-0000-0000-000000000000}"/>
          </ac:spMkLst>
        </pc:spChg>
        <pc:spChg chg="add mod">
          <ac:chgData name="Carbyne" userId="93d76288-529d-40ff-802e-9c196277caca" providerId="ADAL" clId="{34B0905A-984E-4143-B117-EB4075EFBE72}" dt="2021-07-09T01:35:55.840" v="71" actId="1076"/>
          <ac:spMkLst>
            <pc:docMk/>
            <pc:sldMk cId="1438356899" sldId="286"/>
            <ac:spMk id="7" creationId="{0E040A15-A3AB-4E7D-8F37-AABDE98DC501}"/>
          </ac:spMkLst>
        </pc:spChg>
        <pc:spChg chg="add mod">
          <ac:chgData name="Carbyne" userId="93d76288-529d-40ff-802e-9c196277caca" providerId="ADAL" clId="{34B0905A-984E-4143-B117-EB4075EFBE72}" dt="2021-07-09T01:37:57.145" v="139" actId="164"/>
          <ac:spMkLst>
            <pc:docMk/>
            <pc:sldMk cId="1438356899" sldId="286"/>
            <ac:spMk id="9" creationId="{9EF078FB-0C7F-43A5-8EE4-32E1E468075B}"/>
          </ac:spMkLst>
        </pc:spChg>
        <pc:spChg chg="mod">
          <ac:chgData name="Carbyne" userId="93d76288-529d-40ff-802e-9c196277caca" providerId="ADAL" clId="{34B0905A-984E-4143-B117-EB4075EFBE72}" dt="2021-07-09T01:35:51.899" v="70" actId="164"/>
          <ac:spMkLst>
            <pc:docMk/>
            <pc:sldMk cId="1438356899" sldId="286"/>
            <ac:spMk id="10" creationId="{972B92D5-121A-4221-8D43-36CDD50FA454}"/>
          </ac:spMkLst>
        </pc:spChg>
        <pc:spChg chg="del">
          <ac:chgData name="Carbyne" userId="93d76288-529d-40ff-802e-9c196277caca" providerId="ADAL" clId="{34B0905A-984E-4143-B117-EB4075EFBE72}" dt="2021-07-09T01:34:54.283" v="51" actId="478"/>
          <ac:spMkLst>
            <pc:docMk/>
            <pc:sldMk cId="1438356899" sldId="286"/>
            <ac:spMk id="12" creationId="{71E5279F-FCED-4094-8D58-DC5AD13974E6}"/>
          </ac:spMkLst>
        </pc:spChg>
        <pc:spChg chg="add mod">
          <ac:chgData name="Carbyne" userId="93d76288-529d-40ff-802e-9c196277caca" providerId="ADAL" clId="{34B0905A-984E-4143-B117-EB4075EFBE72}" dt="2021-07-09T01:37:57.145" v="139" actId="164"/>
          <ac:spMkLst>
            <pc:docMk/>
            <pc:sldMk cId="1438356899" sldId="286"/>
            <ac:spMk id="16" creationId="{A9123A85-9C2C-41E9-A0D5-66297839963F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18" creationId="{9C1ACBED-54EB-4A4C-913F-0DF3EAE76F11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20" creationId="{A86443EE-EAFE-4D9D-A124-75D3CCC10924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21" creationId="{6FCCE955-72AF-4B09-85DD-7500D2FB8FF6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22" creationId="{28DDD117-B7EC-4345-AF09-6F841B5FA91E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23" creationId="{B81C856C-5E82-4BDC-81CD-500EE43536AD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24" creationId="{853FF8AD-EBF7-4261-9642-7D0C3E1F7CB6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25" creationId="{15469767-D562-4969-894F-DDBBAFFD9CC7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26" creationId="{68A6024B-87BF-4BD1-992E-9C180D7B7757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27" creationId="{FFE04F95-5442-4E4E-8B01-3427F67F0F67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28" creationId="{17FF8304-8F37-4DBD-9F3E-9A2983562E14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29" creationId="{FAA2CA9F-6CF1-4E86-8100-E9EB455AFC6B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30" creationId="{32E9B7EC-13EF-4FE9-8FE2-65BD335114F1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31" creationId="{4C975C67-8590-4179-9931-E9976B512744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32" creationId="{0DE6CAF4-48D8-4811-93F3-41AEE9C01244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33" creationId="{F8C29A2F-096B-4E7E-88B2-DF76A1FF59F8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34" creationId="{7E4C25B1-ADD0-47F0-A766-A71D69AC5E39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35" creationId="{F161F340-4EFD-486A-8E61-F0D63056BC0A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36" creationId="{00AC5EA0-9355-4156-B915-5A7C969105E6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37" creationId="{7B54E19D-93B2-4D8B-B412-D1794F94838B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38" creationId="{12736BB0-DCFF-4DDD-BD0A-D3BBD4F61C5C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39" creationId="{C569E940-FA76-4D86-9B4A-3BAE202E1EBC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40" creationId="{9799ABF4-BCFC-4997-A0D8-32CD35667B41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41" creationId="{8E505988-6F51-4081-B149-35AEEA1ADBEC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42" creationId="{00B27B91-E1CC-40BA-B5EB-2043C91C7FA0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43" creationId="{09761D00-EEB2-4DCB-8154-0ABD2A411F94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44" creationId="{84139979-E12E-4364-83A7-D8B6AC8072F9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45" creationId="{7AF48C57-F133-42FB-A8BF-F4E468B88A41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46" creationId="{24CB22BD-4E52-49C0-B7F0-AB15562081E1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47" creationId="{3387CC10-36DD-4D87-95D4-6F779D203779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48" creationId="{438F847D-6FFE-4A0A-925C-335155A186EA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49" creationId="{2C6303B4-3FDD-4756-B7C7-3FC628134114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50" creationId="{30AA254C-8A24-4131-B0C0-F3DDAA087B52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51" creationId="{EEC7032F-05D0-45B7-B506-A8EFFD1428F8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52" creationId="{3F9B2C2D-20DB-49BA-8BF1-B4DB643BF5DC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53" creationId="{59FE9775-FBF0-48D6-831C-6D0BA6E83895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54" creationId="{B696073F-11FE-4E09-88B5-6BE4A26F0769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55" creationId="{A9427E9E-0E84-4CD8-B04F-37B77D6BFE83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56" creationId="{996B211F-A486-45EA-B20E-7F11FA83FD76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57" creationId="{C2F776CC-051A-4F82-9340-BDADC1DD346D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58" creationId="{C3925849-3F66-4650-B84A-19424149AE03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59" creationId="{42F294B7-70DD-421F-B911-EAAE5AD71BF7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60" creationId="{58AD90B4-862E-4C93-8850-288E5A52FE26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61" creationId="{657DEA1D-1FD7-4FEB-B74F-29FAABCC52EF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62" creationId="{16D3333D-D923-42D7-AE1B-77D86814FCA0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63" creationId="{92CA4D3D-1B76-4448-A66D-475A52D3A345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64" creationId="{A2441CBD-B5F8-4FB2-9732-025945901ADC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65" creationId="{FC40B8D2-3484-4E49-A64A-B249FEE759F2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66" creationId="{1BB2D200-382F-4983-B14C-4259766135B5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67" creationId="{2C7932FB-F332-4225-B82C-18B94BD2531E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68" creationId="{B483BCD8-AB15-49EB-9506-8658266AFE11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69" creationId="{7282E13A-33CD-4E87-A5C9-AC4A3DAACC7F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70" creationId="{FE75CCD3-0A38-4DAA-8BE6-9F29B40E698F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71" creationId="{A5C1B953-8E32-4B93-A850-AD4F6DB5B433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72" creationId="{F61B40E7-29A4-419F-A026-2BE470092983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73" creationId="{C693B23E-B82E-44A8-9F1B-97A65A8EE2F8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74" creationId="{29154240-F416-4E32-8625-62D3E701E89B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75" creationId="{ADAF9FCC-8550-4809-9D87-EC72472A6ABE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76" creationId="{4508FA4F-C050-4290-A3AC-6EBD4EE7AA8C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77" creationId="{8D8D6986-F219-4559-B159-B1D0B671CD8E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78" creationId="{C6C42FF6-5712-45CB-B629-043B2783202A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79" creationId="{E1B6A3AB-DB9F-4BA2-B21E-02EA00FB78ED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80" creationId="{AE65A396-BAAA-476B-9B38-8B2B1744EFF5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81" creationId="{C596001B-A955-4394-A1B1-A554171BBF42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82" creationId="{5BB22EE9-4EC2-430D-B942-1466E5DB4900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83" creationId="{935B8023-2E7B-4E3E-B19C-F562D2B403C9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84" creationId="{BB06BAA5-3F96-43F9-9422-261D569848A2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85" creationId="{DBC9918F-4253-4CB9-B932-494D4A275BEA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86" creationId="{1939DDCC-1179-4EDA-85C6-21D2CEF92EC6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87" creationId="{B929879E-AAD8-4E8D-8C51-808F76DC6727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88" creationId="{2C78C5F7-1F1F-454B-A7D3-61C89851BBC3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89" creationId="{B2DE754A-6FB3-48F1-B37D-E4747E4D7954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90" creationId="{1890BE11-A310-4CED-8D78-4E8CD4AB85BD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91" creationId="{335F0CAC-08F8-4BA7-81AE-79A5BE9AB36B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92" creationId="{96D80BCB-9FCD-4E39-8E30-DE41A25204EE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93" creationId="{EC6FB156-34E5-49A8-B558-593E6234AA5F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94" creationId="{1956C129-B71E-447E-9FF9-486EC14FA67C}"/>
          </ac:spMkLst>
        </pc:spChg>
        <pc:spChg chg="mod">
          <ac:chgData name="Carbyne" userId="93d76288-529d-40ff-802e-9c196277caca" providerId="ADAL" clId="{34B0905A-984E-4143-B117-EB4075EFBE72}" dt="2021-07-09T01:39:10.749" v="173" actId="1076"/>
          <ac:spMkLst>
            <pc:docMk/>
            <pc:sldMk cId="1438356899" sldId="286"/>
            <ac:spMk id="95" creationId="{835A64C1-63B0-453B-9000-F41B4C093EB1}"/>
          </ac:spMkLst>
        </pc:spChg>
        <pc:grpChg chg="del">
          <ac:chgData name="Carbyne" userId="93d76288-529d-40ff-802e-9c196277caca" providerId="ADAL" clId="{34B0905A-984E-4143-B117-EB4075EFBE72}" dt="2021-07-09T01:34:45.424" v="47" actId="478"/>
          <ac:grpSpMkLst>
            <pc:docMk/>
            <pc:sldMk cId="1438356899" sldId="286"/>
            <ac:grpSpMk id="6" creationId="{773ED000-D065-4B98-8C90-EB2F94B2D1E9}"/>
          </ac:grpSpMkLst>
        </pc:grpChg>
        <pc:grpChg chg="add mod">
          <ac:chgData name="Carbyne" userId="93d76288-529d-40ff-802e-9c196277caca" providerId="ADAL" clId="{34B0905A-984E-4143-B117-EB4075EFBE72}" dt="2021-07-09T01:35:51.899" v="70" actId="164"/>
          <ac:grpSpMkLst>
            <pc:docMk/>
            <pc:sldMk cId="1438356899" sldId="286"/>
            <ac:grpSpMk id="8" creationId="{29E49CC4-CC61-4DF0-9B12-E110F0D88BE8}"/>
          </ac:grpSpMkLst>
        </pc:grpChg>
        <pc:grpChg chg="add mod">
          <ac:chgData name="Carbyne" userId="93d76288-529d-40ff-802e-9c196277caca" providerId="ADAL" clId="{34B0905A-984E-4143-B117-EB4075EFBE72}" dt="2021-07-09T01:38:08.547" v="170" actId="1037"/>
          <ac:grpSpMkLst>
            <pc:docMk/>
            <pc:sldMk cId="1438356899" sldId="286"/>
            <ac:grpSpMk id="11" creationId="{27DD3C56-C2F7-4176-9BD4-B5BE2F3429D8}"/>
          </ac:grpSpMkLst>
        </pc:grpChg>
        <pc:grpChg chg="add mod">
          <ac:chgData name="Carbyne" userId="93d76288-529d-40ff-802e-9c196277caca" providerId="ADAL" clId="{34B0905A-984E-4143-B117-EB4075EFBE72}" dt="2021-07-09T01:39:10.749" v="173" actId="1076"/>
          <ac:grpSpMkLst>
            <pc:docMk/>
            <pc:sldMk cId="1438356899" sldId="286"/>
            <ac:grpSpMk id="17" creationId="{065D3119-BE43-433F-BB46-AAE4B2D9679B}"/>
          </ac:grpSpMkLst>
        </pc:grpChg>
        <pc:picChg chg="del">
          <ac:chgData name="Carbyne" userId="93d76288-529d-40ff-802e-9c196277caca" providerId="ADAL" clId="{34B0905A-984E-4143-B117-EB4075EFBE72}" dt="2021-07-09T01:34:54.283" v="51" actId="478"/>
          <ac:picMkLst>
            <pc:docMk/>
            <pc:sldMk cId="1438356899" sldId="286"/>
            <ac:picMk id="15" creationId="{997FA763-D976-48AE-8C57-EC0CE3E58CF2}"/>
          </ac:picMkLst>
        </pc:picChg>
        <pc:picChg chg="add del">
          <ac:chgData name="Carbyne" userId="93d76288-529d-40ff-802e-9c196277caca" providerId="ADAL" clId="{34B0905A-984E-4143-B117-EB4075EFBE72}" dt="2021-07-09T01:34:54.283" v="51" actId="478"/>
          <ac:picMkLst>
            <pc:docMk/>
            <pc:sldMk cId="1438356899" sldId="286"/>
            <ac:picMk id="19" creationId="{65F9E9A3-0AD7-4C9E-A0ED-76D2D4D0EDDE}"/>
          </ac:picMkLst>
        </pc:picChg>
      </pc:sldChg>
      <pc:sldChg chg="addSp delSp modSp add mod modAnim">
        <pc:chgData name="Carbyne" userId="93d76288-529d-40ff-802e-9c196277caca" providerId="ADAL" clId="{34B0905A-984E-4143-B117-EB4075EFBE72}" dt="2021-07-09T02:06:33.177" v="611"/>
        <pc:sldMkLst>
          <pc:docMk/>
          <pc:sldMk cId="1235425702" sldId="287"/>
        </pc:sldMkLst>
        <pc:spChg chg="mod">
          <ac:chgData name="Carbyne" userId="93d76288-529d-40ff-802e-9c196277caca" providerId="ADAL" clId="{34B0905A-984E-4143-B117-EB4075EFBE72}" dt="2021-07-09T01:39:29.648" v="177"/>
          <ac:spMkLst>
            <pc:docMk/>
            <pc:sldMk cId="1235425702" sldId="287"/>
            <ac:spMk id="2" creationId="{00000000-0000-0000-0000-000000000000}"/>
          </ac:spMkLst>
        </pc:spChg>
        <pc:spChg chg="mod">
          <ac:chgData name="Carbyne" userId="93d76288-529d-40ff-802e-9c196277caca" providerId="ADAL" clId="{34B0905A-984E-4143-B117-EB4075EFBE72}" dt="2021-07-09T01:45:42.997" v="243" actId="1076"/>
          <ac:spMkLst>
            <pc:docMk/>
            <pc:sldMk cId="1235425702" sldId="287"/>
            <ac:spMk id="10" creationId="{972B92D5-121A-4221-8D43-36CDD50FA454}"/>
          </ac:spMkLst>
        </pc:spChg>
        <pc:spChg chg="mod">
          <ac:chgData name="Carbyne" userId="93d76288-529d-40ff-802e-9c196277caca" providerId="ADAL" clId="{34B0905A-984E-4143-B117-EB4075EFBE72}" dt="2021-07-09T01:41:17.398" v="194" actId="1076"/>
          <ac:spMkLst>
            <pc:docMk/>
            <pc:sldMk cId="1235425702" sldId="287"/>
            <ac:spMk id="16" creationId="{A9123A85-9C2C-41E9-A0D5-66297839963F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97" creationId="{D10D89C8-DBCD-4245-AE78-3C567A5E1249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98" creationId="{8A7C3C12-C628-4516-AE35-6F0A1BB8762B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99" creationId="{7C64295B-7D81-4894-BD5A-55A973D2E4E6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00" creationId="{E129C672-F091-45A8-97F0-6436A25A9433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01" creationId="{58C144E9-2752-44E4-8137-90F42E3D880D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02" creationId="{283B8FF6-2BE2-488C-B066-7EDCC6EA267E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03" creationId="{B2C48794-6499-4F71-8093-43DFCCDF9830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04" creationId="{B041D82A-6292-41CA-A13B-82F145C20698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05" creationId="{B7C5389F-9D6F-4986-991D-30D9659CDEA1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06" creationId="{825D210F-2C2A-447C-BF73-4D796E13DC21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07" creationId="{2F4CBBB9-2492-4C75-A873-C4ACAE27F94C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08" creationId="{7F8CAB8B-52C8-4026-8DC3-AE51497F393E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09" creationId="{C990856B-93F9-4E8E-B3BB-321CA1EB5854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10" creationId="{D08CD178-9B6B-4D54-91CD-889DB3D1782A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11" creationId="{B8DFFD7D-3944-4434-97E1-9B12D6C9D91C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12" creationId="{6ABF16B1-CA0A-4444-818B-DE56EFD9C682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13" creationId="{15C56F96-26C6-413C-9C5A-5C7AD6C59F38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14" creationId="{C10D84AE-3EA6-4864-ABD9-6D245D979EFF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15" creationId="{37C6F4C4-9F8D-431C-B7E8-0A5F6DABEE1F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16" creationId="{06FFE28C-1387-4C1A-8C74-9344AB9E55E4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17" creationId="{5CB21623-DF66-420F-90D5-74B102EA8904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18" creationId="{800370A5-26B6-4196-974C-EDC373F90314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19" creationId="{15DC2215-987E-4C77-BA64-376D9EC04811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20" creationId="{6813AD68-A912-45A9-A48F-803CD83AB14E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21" creationId="{ED276FBA-5ECE-42DA-AA66-656B8CEC9155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22" creationId="{51E0CDEA-D88C-4477-9539-13DBE63EF546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23" creationId="{4C30F8A6-04FD-4205-92BD-CA329494229A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24" creationId="{54076B82-234E-40ED-8F71-9988901BD2BE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25" creationId="{11C17350-30DD-4DC8-82CE-FBEDB68C6181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26" creationId="{49122DAD-E2CF-4A03-8AE3-5F03A7075C15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27" creationId="{266C2A92-67CC-4971-BD4B-D011E04CA4B4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28" creationId="{2728BD27-E0DA-42F0-9342-DDD1C942627B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29" creationId="{96EC4422-5454-42A2-B506-CA848E575EE4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30" creationId="{C3C5B0A9-44F8-453E-9B3B-8A08F86B3EBF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31" creationId="{7748CA55-8258-4028-A3D9-E40C97F1E200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32" creationId="{468B0D77-6032-4837-BFCD-03384A16AE78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33" creationId="{E72C655E-61B1-4D76-BC49-655AA5D3D22B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34" creationId="{36C1A2F4-C7F4-4129-9902-E13F1851EE15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35" creationId="{08E7A2CA-8D26-4B5C-89FD-A3C82F7F49B0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36" creationId="{C518377A-463A-468E-A95F-9051D837E571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37" creationId="{2CA70880-2853-40DF-B61D-BFC48D35CF4E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38" creationId="{617A5873-2E66-4043-998E-C488451937AB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39" creationId="{C8065A98-D8CF-4589-80C0-AE5A2B0EF769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40" creationId="{03116EC7-7510-4C32-BE1F-15147EEA739D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41" creationId="{F24D986F-91D0-4154-9C65-784C653E64AA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42" creationId="{F8059D3A-EAA6-46B9-B90F-5FE17B845BD2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43" creationId="{0BEEBDE4-C48E-4ED1-B10B-82B4D1B1CE0C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44" creationId="{2EF70577-F1A8-455F-A45A-DB314176BC0F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45" creationId="{80E95ACF-7207-4DB2-AC03-AC7AA4C7098B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46" creationId="{C81665A0-5B7F-445F-9E1A-5804AA63CEBB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47" creationId="{ADB1AF2C-FF13-44B1-A37A-679C775DE674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48" creationId="{3DEF9B11-B889-45C1-B610-7DC7C4ADA362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49" creationId="{392E3927-08CE-4178-A863-8FF4304D2E4E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50" creationId="{748A5E2D-823F-467C-8897-CD2661134D96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51" creationId="{3118940E-EA4B-464B-8AA5-46421CEC2D97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52" creationId="{BF333CF2-49F3-4668-B675-3E8F64444D12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53" creationId="{A10D3E1A-1E21-4D0A-B08A-1934E93A5962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54" creationId="{0F80DB43-C954-4478-A712-4CCAFDF1506C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55" creationId="{A2E7CC73-F2B1-4918-BBE3-02C052BCB941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56" creationId="{322ACAE5-230A-4A60-BE35-56A4CF028077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57" creationId="{9E97467A-4CEC-4186-BC21-1D92CD5B7B38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58" creationId="{DCAA88D4-18B0-4B49-AD6E-958F6D31DAF9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59" creationId="{296814BA-761D-4132-B10A-13CF4A188B6B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60" creationId="{A16E4DED-744F-43F1-AB9B-244F1CD493E9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61" creationId="{F223E84D-EA0D-4084-A10D-CAD5542613F1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62" creationId="{C86ABDB6-9A0A-4CB6-A9A1-016FA08CC7FE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63" creationId="{AB0C8E21-C452-48B0-BBFC-425877DB9828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64" creationId="{0DC4C1F6-2B33-4CEA-83AC-3EA1EEDC879E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65" creationId="{D4C4932F-D054-49BE-8864-823688A71407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66" creationId="{6A37204E-6F4C-4FD9-AD09-8E0DAEA0BD74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67" creationId="{23B894CC-5BAB-4E28-87B2-47BCF51B264D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68" creationId="{256F4B53-5A70-44DC-BFED-FADCA5E94ED4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69" creationId="{00182114-F99D-4081-A44A-473916900D1A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70" creationId="{8405E0A3-48D4-47EF-A903-1D243045E1E6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71" creationId="{19C99C8F-2E61-4FFB-B76F-412C080EB197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72" creationId="{4080EE14-3D91-4434-833D-72B31CA721F3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73" creationId="{DE506EF6-682E-4314-A6BF-F5CD46B39B6E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74" creationId="{FDF10E8C-C68D-494A-964A-2A28A251DDE1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75" creationId="{29A52DEE-68D8-4B44-9B46-2FEC27D8CDE1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76" creationId="{EE8694E7-7342-42F3-BCE4-D43B209ED78A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77" creationId="{0FD675D6-1DEC-47C9-9122-4F2AFD07FF19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78" creationId="{134F4F04-B8CA-427C-9FAE-7DF5AEB598EB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79" creationId="{CCF91E29-9BAE-400D-9E2C-4FBF58594FCE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80" creationId="{AD13171E-3C76-4030-9ABB-AE8B23C17A5E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81" creationId="{7E4E8947-6251-4CC6-A067-765786B14A3C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82" creationId="{A14F0209-1934-4EB7-8820-4AD344974055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83" creationId="{955107DE-0B3F-4729-8EA4-8E94EC445A34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84" creationId="{7010E61A-66DB-4EBC-BCBE-8825C4ADE21F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85" creationId="{26CCC67E-07E7-43F5-8C88-506B779F3046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86" creationId="{75330B25-C40E-4513-BD37-C8CC053637C8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87" creationId="{28272061-1D24-4071-8B45-D9EE4BFC13A6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88" creationId="{B0781F9C-2A37-4818-9ACA-A48C4BB31932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89" creationId="{72310720-10A0-4370-A8DA-4E73A89B0D97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90" creationId="{5EF2025F-8E5F-48EF-BB25-08AE1A055D5B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91" creationId="{704CD395-46A8-492A-9B89-CFC5F360E2C5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92" creationId="{2290E5E2-A8B8-4260-AF2C-FF044FE12440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93" creationId="{EA7B67F1-E22C-4B39-B3F3-35DBD5B9623D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94" creationId="{B62FFCC7-0B1B-4711-A41E-865933AFC62B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95" creationId="{B227FD69-04AF-4B6A-9D9F-E46CD988A2F2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96" creationId="{C18A0E06-801A-42C0-9CE7-F004FE3F00D3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97" creationId="{8D3D65C4-6606-4B46-8253-6D2808868407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98" creationId="{006353DD-59D0-4475-A97C-E49B138980DD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199" creationId="{F6C4A1F8-858F-4352-876F-F36143820CBE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200" creationId="{DBD2A846-C3FB-4170-A65C-FEA102F7451B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201" creationId="{863C11CD-183B-4916-AEB5-4A5960E67DFA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202" creationId="{58C6BD0C-EB95-451E-AA64-FAF88ECC807F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203" creationId="{47866F94-C2B1-4E97-9069-865352501B43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204" creationId="{7BD57E94-C37C-490E-822E-719E202861B8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205" creationId="{67472D55-462E-45DE-94D8-14A71031F548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206" creationId="{A41E2BD3-858E-486C-B467-844F30E41233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207" creationId="{E69FBF1E-DE15-4A95-B98C-8DB8CC55F2C9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208" creationId="{B04CA959-B3F1-4A7F-9BD6-1F3EA6E641C1}"/>
          </ac:spMkLst>
        </pc:spChg>
        <pc:spChg chg="mod">
          <ac:chgData name="Carbyne" userId="93d76288-529d-40ff-802e-9c196277caca" providerId="ADAL" clId="{34B0905A-984E-4143-B117-EB4075EFBE72}" dt="2021-07-09T01:46:03.004" v="251" actId="14100"/>
          <ac:spMkLst>
            <pc:docMk/>
            <pc:sldMk cId="1235425702" sldId="287"/>
            <ac:spMk id="209" creationId="{858C6BB0-33C9-46C8-81C4-6F155795F332}"/>
          </ac:spMkLst>
        </pc:spChg>
        <pc:grpChg chg="mod">
          <ac:chgData name="Carbyne" userId="93d76288-529d-40ff-802e-9c196277caca" providerId="ADAL" clId="{34B0905A-984E-4143-B117-EB4075EFBE72}" dt="2021-07-09T01:45:59.687" v="249" actId="1076"/>
          <ac:grpSpMkLst>
            <pc:docMk/>
            <pc:sldMk cId="1235425702" sldId="287"/>
            <ac:grpSpMk id="11" creationId="{27DD3C56-C2F7-4176-9BD4-B5BE2F3429D8}"/>
          </ac:grpSpMkLst>
        </pc:grpChg>
        <pc:grpChg chg="del">
          <ac:chgData name="Carbyne" userId="93d76288-529d-40ff-802e-9c196277caca" providerId="ADAL" clId="{34B0905A-984E-4143-B117-EB4075EFBE72}" dt="2021-07-09T01:40:58.660" v="181" actId="478"/>
          <ac:grpSpMkLst>
            <pc:docMk/>
            <pc:sldMk cId="1235425702" sldId="287"/>
            <ac:grpSpMk id="17" creationId="{065D3119-BE43-433F-BB46-AAE4B2D9679B}"/>
          </ac:grpSpMkLst>
        </pc:grpChg>
        <pc:grpChg chg="add mod">
          <ac:chgData name="Carbyne" userId="93d76288-529d-40ff-802e-9c196277caca" providerId="ADAL" clId="{34B0905A-984E-4143-B117-EB4075EFBE72}" dt="2021-07-09T01:46:03.004" v="251" actId="14100"/>
          <ac:grpSpMkLst>
            <pc:docMk/>
            <pc:sldMk cId="1235425702" sldId="287"/>
            <ac:grpSpMk id="96" creationId="{19D9B01F-F227-4286-B5E1-DE07C0C4E8D9}"/>
          </ac:grpSpMkLst>
        </pc:grpChg>
      </pc:sldChg>
      <pc:sldChg chg="add del">
        <pc:chgData name="Carbyne" userId="93d76288-529d-40ff-802e-9c196277caca" providerId="ADAL" clId="{34B0905A-984E-4143-B117-EB4075EFBE72}" dt="2021-07-09T01:39:23.434" v="175"/>
        <pc:sldMkLst>
          <pc:docMk/>
          <pc:sldMk cId="3440945239" sldId="287"/>
        </pc:sldMkLst>
      </pc:sldChg>
      <pc:sldChg chg="modSp add mod">
        <pc:chgData name="Carbyne" userId="93d76288-529d-40ff-802e-9c196277caca" providerId="ADAL" clId="{34B0905A-984E-4143-B117-EB4075EFBE72}" dt="2021-07-09T02:01:57.199" v="526" actId="20577"/>
        <pc:sldMkLst>
          <pc:docMk/>
          <pc:sldMk cId="2827743715" sldId="288"/>
        </pc:sldMkLst>
        <pc:spChg chg="mod">
          <ac:chgData name="Carbyne" userId="93d76288-529d-40ff-802e-9c196277caca" providerId="ADAL" clId="{34B0905A-984E-4143-B117-EB4075EFBE72}" dt="2021-07-09T02:01:45.336" v="487" actId="20577"/>
          <ac:spMkLst>
            <pc:docMk/>
            <pc:sldMk cId="2827743715" sldId="288"/>
            <ac:spMk id="10" creationId="{AAF2BBA8-C967-46EC-B4E8-0103C16AF4B4}"/>
          </ac:spMkLst>
        </pc:spChg>
        <pc:spChg chg="mod">
          <ac:chgData name="Carbyne" userId="93d76288-529d-40ff-802e-9c196277caca" providerId="ADAL" clId="{34B0905A-984E-4143-B117-EB4075EFBE72}" dt="2021-07-09T02:01:57.199" v="526" actId="20577"/>
          <ac:spMkLst>
            <pc:docMk/>
            <pc:sldMk cId="2827743715" sldId="288"/>
            <ac:spMk id="11" creationId="{84D57D83-ABA2-4E32-BDF1-18280B79FC5E}"/>
          </ac:spMkLst>
        </pc:spChg>
      </pc:sldChg>
      <pc:sldChg chg="addSp delSp modSp add mod modAnim">
        <pc:chgData name="Carbyne" userId="93d76288-529d-40ff-802e-9c196277caca" providerId="ADAL" clId="{34B0905A-984E-4143-B117-EB4075EFBE72}" dt="2021-07-09T02:29:47.686" v="1067" actId="207"/>
        <pc:sldMkLst>
          <pc:docMk/>
          <pc:sldMk cId="2235634482" sldId="289"/>
        </pc:sldMkLst>
        <pc:spChg chg="mod">
          <ac:chgData name="Carbyne" userId="93d76288-529d-40ff-802e-9c196277caca" providerId="ADAL" clId="{34B0905A-984E-4143-B117-EB4075EFBE72}" dt="2021-07-09T02:02:21.694" v="546" actId="20577"/>
          <ac:spMkLst>
            <pc:docMk/>
            <pc:sldMk cId="2235634482" sldId="289"/>
            <ac:spMk id="2" creationId="{00000000-0000-0000-0000-000000000000}"/>
          </ac:spMkLst>
        </pc:spChg>
        <pc:spChg chg="add mod">
          <ac:chgData name="Carbyne" userId="93d76288-529d-40ff-802e-9c196277caca" providerId="ADAL" clId="{34B0905A-984E-4143-B117-EB4075EFBE72}" dt="2021-07-09T02:28:26.507" v="1015" actId="1076"/>
          <ac:spMkLst>
            <pc:docMk/>
            <pc:sldMk cId="2235634482" sldId="289"/>
            <ac:spMk id="5" creationId="{525FC737-8E7A-45F0-B00B-7CA0A9DEC975}"/>
          </ac:spMkLst>
        </pc:spChg>
        <pc:spChg chg="add mod">
          <ac:chgData name="Carbyne" userId="93d76288-529d-40ff-802e-9c196277caca" providerId="ADAL" clId="{34B0905A-984E-4143-B117-EB4075EFBE72}" dt="2021-07-09T02:29:47.686" v="1067" actId="207"/>
          <ac:spMkLst>
            <pc:docMk/>
            <pc:sldMk cId="2235634482" sldId="289"/>
            <ac:spMk id="6" creationId="{2C567356-056D-45D5-9314-57718FAD7D75}"/>
          </ac:spMkLst>
        </pc:spChg>
        <pc:spChg chg="add del mod">
          <ac:chgData name="Carbyne" userId="93d76288-529d-40ff-802e-9c196277caca" providerId="ADAL" clId="{34B0905A-984E-4143-B117-EB4075EFBE72}" dt="2021-07-09T02:12:48.455" v="942"/>
          <ac:spMkLst>
            <pc:docMk/>
            <pc:sldMk cId="2235634482" sldId="289"/>
            <ac:spMk id="6" creationId="{EF48A5E0-2317-499B-9171-F6BFBFEE8AD5}"/>
          </ac:spMkLst>
        </pc:spChg>
        <pc:spChg chg="del topLvl">
          <ac:chgData name="Carbyne" userId="93d76288-529d-40ff-802e-9c196277caca" providerId="ADAL" clId="{34B0905A-984E-4143-B117-EB4075EFBE72}" dt="2021-07-09T02:02:12.024" v="530" actId="478"/>
          <ac:spMkLst>
            <pc:docMk/>
            <pc:sldMk cId="2235634482" sldId="289"/>
            <ac:spMk id="7" creationId="{0E040A15-A3AB-4E7D-8F37-AABDE98DC501}"/>
          </ac:spMkLst>
        </pc:spChg>
        <pc:spChg chg="del topLvl">
          <ac:chgData name="Carbyne" userId="93d76288-529d-40ff-802e-9c196277caca" providerId="ADAL" clId="{34B0905A-984E-4143-B117-EB4075EFBE72}" dt="2021-07-09T02:02:13.729" v="531" actId="478"/>
          <ac:spMkLst>
            <pc:docMk/>
            <pc:sldMk cId="2235634482" sldId="289"/>
            <ac:spMk id="10" creationId="{972B92D5-121A-4221-8D43-36CDD50FA454}"/>
          </ac:spMkLst>
        </pc:spChg>
        <pc:spChg chg="add mod">
          <ac:chgData name="Carbyne" userId="93d76288-529d-40ff-802e-9c196277caca" providerId="ADAL" clId="{34B0905A-984E-4143-B117-EB4075EFBE72}" dt="2021-07-09T02:28:29.692" v="1016" actId="1076"/>
          <ac:spMkLst>
            <pc:docMk/>
            <pc:sldMk cId="2235634482" sldId="289"/>
            <ac:spMk id="12" creationId="{94D1F70E-AE32-420F-BEC0-AD1AC3BE6D27}"/>
          </ac:spMkLst>
        </pc:spChg>
        <pc:spChg chg="mod">
          <ac:chgData name="Carbyne" userId="93d76288-529d-40ff-802e-9c196277caca" providerId="ADAL" clId="{34B0905A-984E-4143-B117-EB4075EFBE72}" dt="2021-07-09T02:02:06.902" v="528" actId="20577"/>
          <ac:spMkLst>
            <pc:docMk/>
            <pc:sldMk cId="2235634482" sldId="289"/>
            <ac:spMk id="16" creationId="{A9123A85-9C2C-41E9-A0D5-66297839963F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11" creationId="{228A616C-75F8-4306-A217-289F84BE61F8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12" creationId="{0E5A5654-B788-4D3E-82D0-02EA9DC79B57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13" creationId="{4FEB7D6D-CA4E-456C-9118-B06F6C6A2808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14" creationId="{833EE024-4DC2-456D-B6C3-93E9F58245A4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15" creationId="{29378EA2-7368-4AA6-A1F9-6D579172AF5B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16" creationId="{D1EF0B8E-2ECA-4FB0-A6A6-00643A783231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17" creationId="{803A65E5-497F-477A-8D70-A7DDCF7F96E9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18" creationId="{7A955CF5-57CA-4FB0-9F9A-6568E998D684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19" creationId="{D6158004-BA8B-48DA-B371-1D5CCE850AC3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20" creationId="{7EAD9DB3-0707-434F-9A0E-4B997137AF8C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21" creationId="{E4C025DC-AFC5-46B9-B9F7-FB2758AAF605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22" creationId="{17665C1F-4182-4A65-8360-CB154B66C526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23" creationId="{957FD027-8E3F-4234-B8D7-E51366AF06C1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24" creationId="{0252009C-FA8B-487D-980D-A9A7B8AF8367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25" creationId="{3DBC26BB-662E-4299-AE59-4F9A07E50CFD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26" creationId="{F0E1E3DC-5FE8-4319-9022-7C5062DAFF98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27" creationId="{1D6D438C-6076-4410-839D-CD01B5E33FD8}"/>
          </ac:spMkLst>
        </pc:spChg>
        <pc:spChg chg="mod">
          <ac:chgData name="Carbyne" userId="93d76288-529d-40ff-802e-9c196277caca" providerId="ADAL" clId="{34B0905A-984E-4143-B117-EB4075EFBE72}" dt="2021-07-09T02:15:07.337" v="984" actId="1076"/>
          <ac:spMkLst>
            <pc:docMk/>
            <pc:sldMk cId="2235634482" sldId="289"/>
            <ac:spMk id="228" creationId="{84E50863-43E8-45AD-A787-DE6E4B7AE244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30" creationId="{952C6238-2A05-4D46-868E-9462ECB303BC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31" creationId="{84876849-40CB-4463-B9D9-C540D73A9DA8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32" creationId="{F5625DE0-6E81-47E5-BF6B-AEBE673EBE6F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33" creationId="{1CD0699C-36C0-494D-9710-DFD416FFE365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34" creationId="{4C31AB8A-DB4C-440C-B01F-AFE5FCDEFEFE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35" creationId="{7D8ADC29-2952-4E8B-B68A-DD3517EB10EA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36" creationId="{E493BEE1-C9EC-461B-B75D-7EEAB2CEBE38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37" creationId="{21463DF3-4515-4C82-AE27-A5AB829A1609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38" creationId="{BFC085C4-F229-40C8-A6D1-67934C123E64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39" creationId="{28D10F68-C58D-4ED9-AF37-681B26B73298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40" creationId="{1091A4B2-0713-4162-9736-958E93283606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41" creationId="{A1FCFF86-6A0A-4792-A871-A445F21010AF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42" creationId="{E6A886E6-E583-48DA-BDC3-D8E868D2D5E4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43" creationId="{59335673-2C54-49C2-82AC-3011746B2007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44" creationId="{D9E753FF-B0F0-47D6-A0E3-DD338230F292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45" creationId="{32E96FD4-3BF8-47AB-A2B9-B8A8A6432EBB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46" creationId="{0036E939-FDD8-43AB-8B73-E8EA8417EB8B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47" creationId="{A917A854-478E-4F38-8D0A-AA432B97827B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48" creationId="{FC95404E-D87E-4769-BEF1-08CC9C130329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49" creationId="{48198420-032C-4637-B30E-624B7D8AC38C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50" creationId="{DB8B431F-7FF9-4891-AC6C-F3265A20B5D2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51" creationId="{BED306B7-9865-4784-AAF3-9E07290FD990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52" creationId="{B3B5F9BE-56BF-488C-8B23-34B0C3C10C95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53" creationId="{E0AB6781-95CA-4EB3-86BC-2357A3CB5AE0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54" creationId="{27F15C35-0D91-4EEF-845A-C65879BE3218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55" creationId="{98107721-CC2E-4B1C-9759-05D740528FB7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56" creationId="{DF07D366-13DF-435F-914E-3218977C2D61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57" creationId="{D1A480B8-51A5-4360-A655-72125E36F0F4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58" creationId="{5FDBDDC5-1C15-4AE2-A88E-3698531CEF29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59" creationId="{6D950C17-FFE7-49F9-ABC1-0460E20AC936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60" creationId="{84E496F2-1856-4B19-9A4D-0E9062AD911A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61" creationId="{3C342889-1006-4B0A-99D3-9E1E14B5CEAC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62" creationId="{10087BC6-6A38-4625-BEDC-6890B6BAA74C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63" creationId="{1923E695-5D59-446C-B4CA-A34841CF5E78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64" creationId="{60E76C55-DC3D-4234-AD54-BC5B0BFFCBF5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65" creationId="{7EA6DE27-969D-4A07-A087-57E12E1161C0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66" creationId="{9E813F30-5F7A-4F52-9157-09D626906C1A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67" creationId="{62E4181A-059F-49F5-817D-BF3604925CA2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68" creationId="{5AF4DA7F-71E9-4832-8436-B9A7270C8EB0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69" creationId="{D96612BB-8D01-406F-B7D8-3CA1826092C0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70" creationId="{418B4833-2D21-4C21-8055-36647F5528DD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71" creationId="{5B95BC6D-59D7-4B76-833B-13A02CE62D27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72" creationId="{FED3DC59-1F51-4118-9990-CE24DF2799E7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73" creationId="{4B123281-134F-40D7-8353-4031FCF6FD01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74" creationId="{AD9FB870-ACC1-4F6B-B5B6-F50EE8EEC407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75" creationId="{4BD8C34F-E8DE-4D60-8E26-CA478CB68EC6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76" creationId="{DB02A52D-7328-473E-805B-2685DF34724A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77" creationId="{D7488CEA-3DC1-4688-A965-2A9B07FAFA1F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78" creationId="{924C78DA-2564-47EF-9E70-3B8B01424359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79" creationId="{F88BEB7B-912D-414A-9D0F-AFD262433F66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80" creationId="{5D2B2CFC-A6FA-4712-AD41-BE46AC55A689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81" creationId="{7AC4979F-4911-4075-AF0D-D5A6BC459E5B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82" creationId="{F16BA7DF-D1E3-4883-9888-DB47CE35769C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83" creationId="{2A1B7D29-97CF-47A6-949B-B14AC93F4DE3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84" creationId="{CDC74B12-B940-4872-9B7D-D357323D92F7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85" creationId="{02E7EE30-1AA2-4A86-9489-9D54AA115FEB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86" creationId="{69BD707D-1FBE-46B2-BF1E-109DACA8C8DD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87" creationId="{21331B62-A7DF-4F4F-9312-85F9FFDC57F6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88" creationId="{B2A565A3-23DB-4311-B5D6-7180AD8C01BF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89" creationId="{A06D262E-80FE-4DD1-B94C-3B2702C45A39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90" creationId="{B0C2A304-9FB6-4C54-AF07-D1F9025B9A13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91" creationId="{21C136FE-1492-4F51-8B3E-782079BCD685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92" creationId="{A916D52D-F1FA-42F4-8B83-4DE559773914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93" creationId="{10C9435A-339C-4DED-AEF3-D1E749BEE0A9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94" creationId="{2370C604-24DD-4F25-BF2B-C9B125CDBE9A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95" creationId="{426B01D7-CDC2-4A56-9754-B481219C16DE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96" creationId="{BE1B51C2-8243-4139-BEF5-B77EA6267A0F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97" creationId="{482D360D-11FE-437F-BD95-C59E56B9551A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98" creationId="{9C25EB75-D0BC-4104-995C-B42775A8EC02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299" creationId="{BAEA5D10-C7E0-4CFF-9240-93F790913894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300" creationId="{10034947-C03F-4BD0-90D8-CD7FAE3A7109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301" creationId="{7E04ABE1-10E5-4BF8-A00C-D78A7746BBF9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302" creationId="{81CFF0E9-9070-48A3-953F-F9F1D87330E6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303" creationId="{2C1CD265-9FA9-48C2-8F3F-0DEFC47F48C8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304" creationId="{86926E53-D21E-4A3B-8C3C-1D5CFFFF52A7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305" creationId="{4C1EC24E-CCAE-4C02-A6D6-5A5E787FA324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306" creationId="{A718EF74-528C-4981-AE5A-C876104A8331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307" creationId="{7AF8D0DB-B3A0-42E8-B9FF-726D8B118183}"/>
          </ac:spMkLst>
        </pc:spChg>
        <pc:spChg chg="mod">
          <ac:chgData name="Carbyne" userId="93d76288-529d-40ff-802e-9c196277caca" providerId="ADAL" clId="{34B0905A-984E-4143-B117-EB4075EFBE72}" dt="2021-07-09T02:15:43.142" v="990" actId="1076"/>
          <ac:spMkLst>
            <pc:docMk/>
            <pc:sldMk cId="2235634482" sldId="289"/>
            <ac:spMk id="308" creationId="{4832A44A-541A-41B8-B5F6-1C26455974E5}"/>
          </ac:spMkLst>
        </pc:spChg>
        <pc:grpChg chg="del">
          <ac:chgData name="Carbyne" userId="93d76288-529d-40ff-802e-9c196277caca" providerId="ADAL" clId="{34B0905A-984E-4143-B117-EB4075EFBE72}" dt="2021-07-09T02:02:12.024" v="530" actId="478"/>
          <ac:grpSpMkLst>
            <pc:docMk/>
            <pc:sldMk cId="2235634482" sldId="289"/>
            <ac:grpSpMk id="8" creationId="{29E49CC4-CC61-4DF0-9B12-E110F0D88BE8}"/>
          </ac:grpSpMkLst>
        </pc:grpChg>
        <pc:grpChg chg="del">
          <ac:chgData name="Carbyne" userId="93d76288-529d-40ff-802e-9c196277caca" providerId="ADAL" clId="{34B0905A-984E-4143-B117-EB4075EFBE72}" dt="2021-07-09T02:02:08.491" v="529" actId="478"/>
          <ac:grpSpMkLst>
            <pc:docMk/>
            <pc:sldMk cId="2235634482" sldId="289"/>
            <ac:grpSpMk id="11" creationId="{27DD3C56-C2F7-4176-9BD4-B5BE2F3429D8}"/>
          </ac:grpSpMkLst>
        </pc:grpChg>
        <pc:grpChg chg="del">
          <ac:chgData name="Carbyne" userId="93d76288-529d-40ff-802e-9c196277caca" providerId="ADAL" clId="{34B0905A-984E-4143-B117-EB4075EFBE72}" dt="2021-07-09T02:02:14.920" v="532" actId="478"/>
          <ac:grpSpMkLst>
            <pc:docMk/>
            <pc:sldMk cId="2235634482" sldId="289"/>
            <ac:grpSpMk id="96" creationId="{19D9B01F-F227-4286-B5E1-DE07C0C4E8D9}"/>
          </ac:grpSpMkLst>
        </pc:grpChg>
        <pc:grpChg chg="add del mod">
          <ac:chgData name="Carbyne" userId="93d76288-529d-40ff-802e-9c196277caca" providerId="ADAL" clId="{34B0905A-984E-4143-B117-EB4075EFBE72}" dt="2021-07-09T02:15:34.455" v="986" actId="478"/>
          <ac:grpSpMkLst>
            <pc:docMk/>
            <pc:sldMk cId="2235634482" sldId="289"/>
            <ac:grpSpMk id="210" creationId="{743A354F-7255-48C8-BE25-95DDEB089F34}"/>
          </ac:grpSpMkLst>
        </pc:grpChg>
        <pc:grpChg chg="add mod">
          <ac:chgData name="Carbyne" userId="93d76288-529d-40ff-802e-9c196277caca" providerId="ADAL" clId="{34B0905A-984E-4143-B117-EB4075EFBE72}" dt="2021-07-09T02:15:43.142" v="990" actId="1076"/>
          <ac:grpSpMkLst>
            <pc:docMk/>
            <pc:sldMk cId="2235634482" sldId="289"/>
            <ac:grpSpMk id="229" creationId="{4E646B92-5655-4988-81A2-AF8D514BE8FC}"/>
          </ac:grpSpMkLst>
        </pc:grpChg>
      </pc:sldChg>
      <pc:sldChg chg="addSp delSp modSp add mod delAnim">
        <pc:chgData name="Carbyne" userId="93d76288-529d-40ff-802e-9c196277caca" providerId="ADAL" clId="{34B0905A-984E-4143-B117-EB4075EFBE72}" dt="2021-07-09T02:53:41.311" v="1605" actId="1076"/>
        <pc:sldMkLst>
          <pc:docMk/>
          <pc:sldMk cId="943282716" sldId="290"/>
        </pc:sldMkLst>
        <pc:spChg chg="mod">
          <ac:chgData name="Carbyne" userId="93d76288-529d-40ff-802e-9c196277caca" providerId="ADAL" clId="{34B0905A-984E-4143-B117-EB4075EFBE72}" dt="2021-07-09T02:48:11.370" v="1303" actId="20577"/>
          <ac:spMkLst>
            <pc:docMk/>
            <pc:sldMk cId="943282716" sldId="290"/>
            <ac:spMk id="2" creationId="{00000000-0000-0000-0000-000000000000}"/>
          </ac:spMkLst>
        </pc:spChg>
        <pc:spChg chg="del">
          <ac:chgData name="Carbyne" userId="93d76288-529d-40ff-802e-9c196277caca" providerId="ADAL" clId="{34B0905A-984E-4143-B117-EB4075EFBE72}" dt="2021-07-09T02:46:34.496" v="1084" actId="478"/>
          <ac:spMkLst>
            <pc:docMk/>
            <pc:sldMk cId="943282716" sldId="290"/>
            <ac:spMk id="5" creationId="{525FC737-8E7A-45F0-B00B-7CA0A9DEC975}"/>
          </ac:spMkLst>
        </pc:spChg>
        <pc:spChg chg="del">
          <ac:chgData name="Carbyne" userId="93d76288-529d-40ff-802e-9c196277caca" providerId="ADAL" clId="{34B0905A-984E-4143-B117-EB4075EFBE72}" dt="2021-07-09T02:46:33.570" v="1083" actId="478"/>
          <ac:spMkLst>
            <pc:docMk/>
            <pc:sldMk cId="943282716" sldId="290"/>
            <ac:spMk id="6" creationId="{2C567356-056D-45D5-9314-57718FAD7D75}"/>
          </ac:spMkLst>
        </pc:spChg>
        <pc:spChg chg="add mod">
          <ac:chgData name="Carbyne" userId="93d76288-529d-40ff-802e-9c196277caca" providerId="ADAL" clId="{34B0905A-984E-4143-B117-EB4075EFBE72}" dt="2021-07-09T02:49:38.296" v="1525" actId="20577"/>
          <ac:spMkLst>
            <pc:docMk/>
            <pc:sldMk cId="943282716" sldId="290"/>
            <ac:spMk id="7" creationId="{AC5A2BC5-02D8-4ECC-86D8-6DD1CFD82A60}"/>
          </ac:spMkLst>
        </pc:spChg>
        <pc:spChg chg="add mod">
          <ac:chgData name="Carbyne" userId="93d76288-529d-40ff-802e-9c196277caca" providerId="ADAL" clId="{34B0905A-984E-4143-B117-EB4075EFBE72}" dt="2021-07-09T02:53:41.311" v="1605" actId="1076"/>
          <ac:spMkLst>
            <pc:docMk/>
            <pc:sldMk cId="943282716" sldId="290"/>
            <ac:spMk id="8" creationId="{209AD688-CDAC-4C2E-BF13-96EC87CC3460}"/>
          </ac:spMkLst>
        </pc:spChg>
        <pc:spChg chg="del mod">
          <ac:chgData name="Carbyne" userId="93d76288-529d-40ff-802e-9c196277caca" providerId="ADAL" clId="{34B0905A-984E-4143-B117-EB4075EFBE72}" dt="2021-07-09T02:46:31.992" v="1081" actId="478"/>
          <ac:spMkLst>
            <pc:docMk/>
            <pc:sldMk cId="943282716" sldId="290"/>
            <ac:spMk id="12" creationId="{94D1F70E-AE32-420F-BEC0-AD1AC3BE6D27}"/>
          </ac:spMkLst>
        </pc:spChg>
        <pc:spChg chg="add mod">
          <ac:chgData name="Carbyne" userId="93d76288-529d-40ff-802e-9c196277caca" providerId="ADAL" clId="{34B0905A-984E-4143-B117-EB4075EFBE72}" dt="2021-07-09T02:53:13.781" v="1570" actId="1076"/>
          <ac:spMkLst>
            <pc:docMk/>
            <pc:sldMk cId="943282716" sldId="290"/>
            <ac:spMk id="89" creationId="{37977307-5A3C-490E-83C5-83061ABF7F7E}"/>
          </ac:spMkLst>
        </pc:spChg>
        <pc:spChg chg="add mod">
          <ac:chgData name="Carbyne" userId="93d76288-529d-40ff-802e-9c196277caca" providerId="ADAL" clId="{34B0905A-984E-4143-B117-EB4075EFBE72}" dt="2021-07-09T02:53:32.669" v="1590" actId="1076"/>
          <ac:spMkLst>
            <pc:docMk/>
            <pc:sldMk cId="943282716" sldId="290"/>
            <ac:spMk id="91" creationId="{0D458BC6-F530-442C-A619-A1A4E172307B}"/>
          </ac:spMkLst>
        </pc:spChg>
        <pc:grpChg chg="del">
          <ac:chgData name="Carbyne" userId="93d76288-529d-40ff-802e-9c196277caca" providerId="ADAL" clId="{34B0905A-984E-4143-B117-EB4075EFBE72}" dt="2021-07-09T02:46:32.335" v="1082" actId="478"/>
          <ac:grpSpMkLst>
            <pc:docMk/>
            <pc:sldMk cId="943282716" sldId="290"/>
            <ac:grpSpMk id="229" creationId="{4E646B92-5655-4988-81A2-AF8D514BE8FC}"/>
          </ac:grpSpMkLst>
        </pc:grpChg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7-08T15:28:48.127" idx="2">
    <p:pos x="10" y="10"/>
    <p:text/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7-08T15:38:55.678" idx="3">
    <p:pos x="10" y="10"/>
    <p:text/>
    <p:extLst>
      <p:ext uri="{C676402C-5697-4E1C-873F-D02D1690AC5C}">
        <p15:threadingInfo xmlns:p15="http://schemas.microsoft.com/office/powerpoint/2012/main" timeZoneBias="-48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7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err="1"/>
              <a:t>Hermitux</a:t>
            </a:r>
            <a:r>
              <a:rPr lang="en-US" altLang="zh-CN" dirty="0"/>
              <a:t> Load/Runtime</a:t>
            </a:r>
            <a:r>
              <a:rPr lang="zh-CN" altLang="en-US" dirty="0"/>
              <a:t> 兼容性展开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5097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流程图解释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85310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Unikernel</a:t>
            </a:r>
            <a:r>
              <a:rPr lang="en-US" dirty="0"/>
              <a:t> </a:t>
            </a:r>
            <a:r>
              <a:rPr lang="zh-CN" altLang="en-US" dirty="0"/>
              <a:t>本身不存在内核态概念，未重写成函数调用的 </a:t>
            </a:r>
            <a:r>
              <a:rPr lang="en-US" altLang="zh-CN" dirty="0" err="1"/>
              <a:t>syscalll</a:t>
            </a:r>
            <a:r>
              <a:rPr lang="en-US" altLang="zh-CN" dirty="0"/>
              <a:t> </a:t>
            </a:r>
            <a:r>
              <a:rPr lang="zh-CN" altLang="en-US" dirty="0"/>
              <a:t>只能穿透到宿主机处理，在 </a:t>
            </a:r>
            <a:r>
              <a:rPr lang="en-US" altLang="zh-CN" dirty="0"/>
              <a:t>bare metal </a:t>
            </a:r>
            <a:r>
              <a:rPr lang="zh-CN" altLang="en-US" dirty="0"/>
              <a:t>上无法运行</a:t>
            </a:r>
            <a:r>
              <a:rPr lang="en-US" altLang="zh-CN" dirty="0"/>
              <a:t>/</a:t>
            </a:r>
            <a:r>
              <a:rPr lang="zh-CN" altLang="en-US" dirty="0"/>
              <a:t>在宿主机上效率低下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969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流程图解释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43000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流程图解释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446143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流程图解释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29593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流程图解释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9938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2" name="矩形 5641">
            <a:extLst>
              <a:ext uri="{FF2B5EF4-FFF2-40B4-BE49-F238E27FC236}">
                <a16:creationId xmlns:a16="http://schemas.microsoft.com/office/drawing/2014/main" id="{4BFCEBF6-A4F1-4526-898D-FC98F1EB9B86}"/>
              </a:ext>
            </a:extLst>
          </p:cNvPr>
          <p:cNvSpPr/>
          <p:nvPr userDrawn="1"/>
        </p:nvSpPr>
        <p:spPr>
          <a:xfrm>
            <a:off x="0" y="2902738"/>
            <a:ext cx="1327793" cy="62992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635" name="任意多边形: 形状 5634">
            <a:extLst>
              <a:ext uri="{FF2B5EF4-FFF2-40B4-BE49-F238E27FC236}">
                <a16:creationId xmlns:a16="http://schemas.microsoft.com/office/drawing/2014/main" id="{516D733D-8F59-422D-A884-AD71F7C9E966}"/>
              </a:ext>
            </a:extLst>
          </p:cNvPr>
          <p:cNvSpPr/>
          <p:nvPr userDrawn="1"/>
        </p:nvSpPr>
        <p:spPr bwMode="auto">
          <a:xfrm>
            <a:off x="0" y="3135490"/>
            <a:ext cx="12226330" cy="3722511"/>
          </a:xfrm>
          <a:custGeom>
            <a:avLst/>
            <a:gdLst>
              <a:gd name="connsiteX0" fmla="*/ 4492347 w 12305293"/>
              <a:gd name="connsiteY0" fmla="*/ 3668778 h 3722511"/>
              <a:gd name="connsiteX1" fmla="*/ 4492347 w 12305293"/>
              <a:gd name="connsiteY1" fmla="*/ 3668779 h 3722511"/>
              <a:gd name="connsiteX2" fmla="*/ 4492419 w 12305293"/>
              <a:gd name="connsiteY2" fmla="*/ 3668779 h 3722511"/>
              <a:gd name="connsiteX3" fmla="*/ 4493162 w 12305293"/>
              <a:gd name="connsiteY3" fmla="*/ 3668779 h 3722511"/>
              <a:gd name="connsiteX4" fmla="*/ 4499732 w 12305293"/>
              <a:gd name="connsiteY4" fmla="*/ 3668779 h 3722511"/>
              <a:gd name="connsiteX5" fmla="*/ 4515335 w 12305293"/>
              <a:gd name="connsiteY5" fmla="*/ 3668779 h 3722511"/>
              <a:gd name="connsiteX6" fmla="*/ 4545722 w 12305293"/>
              <a:gd name="connsiteY6" fmla="*/ 3668779 h 3722511"/>
              <a:gd name="connsiteX7" fmla="*/ 4595819 w 12305293"/>
              <a:gd name="connsiteY7" fmla="*/ 3668779 h 3722511"/>
              <a:gd name="connsiteX8" fmla="*/ 4670553 w 12305293"/>
              <a:gd name="connsiteY8" fmla="*/ 3668779 h 3722511"/>
              <a:gd name="connsiteX9" fmla="*/ 4774853 w 12305293"/>
              <a:gd name="connsiteY9" fmla="*/ 3668779 h 3722511"/>
              <a:gd name="connsiteX10" fmla="*/ 4913644 w 12305293"/>
              <a:gd name="connsiteY10" fmla="*/ 3668779 h 3722511"/>
              <a:gd name="connsiteX11" fmla="*/ 5282926 w 12305293"/>
              <a:gd name="connsiteY11" fmla="*/ 3668779 h 3722511"/>
              <a:gd name="connsiteX12" fmla="*/ 5282926 w 12305293"/>
              <a:gd name="connsiteY12" fmla="*/ 3668778 h 3722511"/>
              <a:gd name="connsiteX13" fmla="*/ 4916885 w 12305293"/>
              <a:gd name="connsiteY13" fmla="*/ 3668778 h 3722511"/>
              <a:gd name="connsiteX14" fmla="*/ 4913644 w 12305293"/>
              <a:gd name="connsiteY14" fmla="*/ 3668778 h 3722511"/>
              <a:gd name="connsiteX15" fmla="*/ 4492419 w 12305293"/>
              <a:gd name="connsiteY15" fmla="*/ 3668778 h 3722511"/>
              <a:gd name="connsiteX16" fmla="*/ 3055361 w 12305293"/>
              <a:gd name="connsiteY16" fmla="*/ 3644953 h 3722511"/>
              <a:gd name="connsiteX17" fmla="*/ 3055361 w 12305293"/>
              <a:gd name="connsiteY17" fmla="*/ 3703690 h 3722511"/>
              <a:gd name="connsiteX18" fmla="*/ 3065125 w 12305293"/>
              <a:gd name="connsiteY18" fmla="*/ 3703690 h 3722511"/>
              <a:gd name="connsiteX19" fmla="*/ 3065125 w 12305293"/>
              <a:gd name="connsiteY19" fmla="*/ 3703148 h 3722511"/>
              <a:gd name="connsiteX20" fmla="*/ 3065098 w 12305293"/>
              <a:gd name="connsiteY20" fmla="*/ 3703148 h 3722511"/>
              <a:gd name="connsiteX21" fmla="*/ 3065098 w 12305293"/>
              <a:gd name="connsiteY21" fmla="*/ 3645226 h 3722511"/>
              <a:gd name="connsiteX22" fmla="*/ 3065125 w 12305293"/>
              <a:gd name="connsiteY22" fmla="*/ 3645226 h 3722511"/>
              <a:gd name="connsiteX23" fmla="*/ 3065125 w 12305293"/>
              <a:gd name="connsiteY23" fmla="*/ 3644953 h 3722511"/>
              <a:gd name="connsiteX24" fmla="*/ 8119019 w 12305293"/>
              <a:gd name="connsiteY24" fmla="*/ 3193932 h 3722511"/>
              <a:gd name="connsiteX25" fmla="*/ 8118360 w 12305293"/>
              <a:gd name="connsiteY25" fmla="*/ 3194577 h 3722511"/>
              <a:gd name="connsiteX26" fmla="*/ 8085010 w 12305293"/>
              <a:gd name="connsiteY26" fmla="*/ 3227255 h 3722511"/>
              <a:gd name="connsiteX27" fmla="*/ 8055685 w 12305293"/>
              <a:gd name="connsiteY27" fmla="*/ 3255988 h 3722511"/>
              <a:gd name="connsiteX28" fmla="*/ 8055847 w 12305293"/>
              <a:gd name="connsiteY28" fmla="*/ 3255988 h 3722511"/>
              <a:gd name="connsiteX29" fmla="*/ 8119019 w 12305293"/>
              <a:gd name="connsiteY29" fmla="*/ 3194711 h 3722511"/>
              <a:gd name="connsiteX30" fmla="*/ 11570066 w 12305293"/>
              <a:gd name="connsiteY30" fmla="*/ 3115784 h 3722511"/>
              <a:gd name="connsiteX31" fmla="*/ 11567505 w 12305293"/>
              <a:gd name="connsiteY31" fmla="*/ 3117981 h 3722511"/>
              <a:gd name="connsiteX32" fmla="*/ 11563060 w 12305293"/>
              <a:gd name="connsiteY32" fmla="*/ 3121791 h 3722511"/>
              <a:gd name="connsiteX33" fmla="*/ 11569818 w 12305293"/>
              <a:gd name="connsiteY33" fmla="*/ 3116273 h 3722511"/>
              <a:gd name="connsiteX34" fmla="*/ 11679984 w 12305293"/>
              <a:gd name="connsiteY34" fmla="*/ 3203585 h 3722511"/>
              <a:gd name="connsiteX35" fmla="*/ 11679984 w 12305293"/>
              <a:gd name="connsiteY35" fmla="*/ 3575086 h 3722511"/>
              <a:gd name="connsiteX36" fmla="*/ 11680221 w 12305293"/>
              <a:gd name="connsiteY36" fmla="*/ 3575086 h 3722511"/>
              <a:gd name="connsiteX37" fmla="*/ 11680221 w 12305293"/>
              <a:gd name="connsiteY37" fmla="*/ 3574404 h 3722511"/>
              <a:gd name="connsiteX38" fmla="*/ 11680221 w 12305293"/>
              <a:gd name="connsiteY38" fmla="*/ 3203637 h 3722511"/>
              <a:gd name="connsiteX39" fmla="*/ 11570066 w 12305293"/>
              <a:gd name="connsiteY39" fmla="*/ 3115784 h 3722511"/>
              <a:gd name="connsiteX40" fmla="*/ 3697880 w 12305293"/>
              <a:gd name="connsiteY40" fmla="*/ 3081386 h 3722511"/>
              <a:gd name="connsiteX41" fmla="*/ 3697875 w 12305293"/>
              <a:gd name="connsiteY41" fmla="*/ 3081401 h 3722511"/>
              <a:gd name="connsiteX42" fmla="*/ 3883174 w 12305293"/>
              <a:gd name="connsiteY42" fmla="*/ 3081401 h 3722511"/>
              <a:gd name="connsiteX43" fmla="*/ 3883174 w 12305293"/>
              <a:gd name="connsiteY43" fmla="*/ 3081386 h 3722511"/>
              <a:gd name="connsiteX44" fmla="*/ 3863317 w 12305293"/>
              <a:gd name="connsiteY44" fmla="*/ 3081386 h 3722511"/>
              <a:gd name="connsiteX45" fmla="*/ 3736453 w 12305293"/>
              <a:gd name="connsiteY45" fmla="*/ 3081386 h 3722511"/>
              <a:gd name="connsiteX46" fmla="*/ 3716784 w 12305293"/>
              <a:gd name="connsiteY46" fmla="*/ 3081386 h 3722511"/>
              <a:gd name="connsiteX47" fmla="*/ 6938046 w 12305293"/>
              <a:gd name="connsiteY47" fmla="*/ 3017605 h 3722511"/>
              <a:gd name="connsiteX48" fmla="*/ 6960659 w 12305293"/>
              <a:gd name="connsiteY48" fmla="*/ 3084483 h 3722511"/>
              <a:gd name="connsiteX49" fmla="*/ 6961143 w 12305293"/>
              <a:gd name="connsiteY49" fmla="*/ 3079838 h 3722511"/>
              <a:gd name="connsiteX50" fmla="*/ 6984400 w 12305293"/>
              <a:gd name="connsiteY50" fmla="*/ 2912583 h 3722511"/>
              <a:gd name="connsiteX51" fmla="*/ 6981535 w 12305293"/>
              <a:gd name="connsiteY51" fmla="*/ 2923841 h 3722511"/>
              <a:gd name="connsiteX52" fmla="*/ 6980146 w 12305293"/>
              <a:gd name="connsiteY52" fmla="*/ 2934684 h 3722511"/>
              <a:gd name="connsiteX53" fmla="*/ 7989526 w 12305293"/>
              <a:gd name="connsiteY53" fmla="*/ 2692114 h 3722511"/>
              <a:gd name="connsiteX54" fmla="*/ 7989526 w 12305293"/>
              <a:gd name="connsiteY54" fmla="*/ 2844695 h 3722511"/>
              <a:gd name="connsiteX55" fmla="*/ 7990072 w 12305293"/>
              <a:gd name="connsiteY55" fmla="*/ 2844695 h 3722511"/>
              <a:gd name="connsiteX56" fmla="*/ 8075811 w 12305293"/>
              <a:gd name="connsiteY56" fmla="*/ 2844695 h 3722511"/>
              <a:gd name="connsiteX57" fmla="*/ 8075811 w 12305293"/>
              <a:gd name="connsiteY57" fmla="*/ 2734251 h 3722511"/>
              <a:gd name="connsiteX58" fmla="*/ 8028419 w 12305293"/>
              <a:gd name="connsiteY58" fmla="*/ 2717622 h 3722511"/>
              <a:gd name="connsiteX59" fmla="*/ 3071561 w 12305293"/>
              <a:gd name="connsiteY59" fmla="*/ 2528938 h 3722511"/>
              <a:gd name="connsiteX60" fmla="*/ 3196297 w 12305293"/>
              <a:gd name="connsiteY60" fmla="*/ 2625773 h 3722511"/>
              <a:gd name="connsiteX61" fmla="*/ 3196299 w 12305293"/>
              <a:gd name="connsiteY61" fmla="*/ 2625775 h 3722511"/>
              <a:gd name="connsiteX62" fmla="*/ 3196299 w 12305293"/>
              <a:gd name="connsiteY62" fmla="*/ 2625776 h 3722511"/>
              <a:gd name="connsiteX63" fmla="*/ 3196299 w 12305293"/>
              <a:gd name="connsiteY63" fmla="*/ 2654350 h 3722511"/>
              <a:gd name="connsiteX64" fmla="*/ 3165953 w 12305293"/>
              <a:gd name="connsiteY64" fmla="*/ 2689129 h 3722511"/>
              <a:gd name="connsiteX65" fmla="*/ 3167645 w 12305293"/>
              <a:gd name="connsiteY65" fmla="*/ 2692529 h 3722511"/>
              <a:gd name="connsiteX66" fmla="*/ 3161007 w 12305293"/>
              <a:gd name="connsiteY66" fmla="*/ 2712135 h 3722511"/>
              <a:gd name="connsiteX67" fmla="*/ 3136012 w 12305293"/>
              <a:gd name="connsiteY67" fmla="*/ 2742298 h 3722511"/>
              <a:gd name="connsiteX68" fmla="*/ 3115705 w 12305293"/>
              <a:gd name="connsiteY68" fmla="*/ 2750215 h 3722511"/>
              <a:gd name="connsiteX69" fmla="*/ 3113426 w 12305293"/>
              <a:gd name="connsiteY69" fmla="*/ 2749327 h 3722511"/>
              <a:gd name="connsiteX70" fmla="*/ 3005140 w 12305293"/>
              <a:gd name="connsiteY70" fmla="*/ 2873426 h 3722511"/>
              <a:gd name="connsiteX71" fmla="*/ 2946823 w 12305293"/>
              <a:gd name="connsiteY71" fmla="*/ 2824213 h 3722511"/>
              <a:gd name="connsiteX72" fmla="*/ 2946823 w 12305293"/>
              <a:gd name="connsiteY72" fmla="*/ 2797226 h 3722511"/>
              <a:gd name="connsiteX73" fmla="*/ 2946823 w 12305293"/>
              <a:gd name="connsiteY73" fmla="*/ 2794051 h 3722511"/>
              <a:gd name="connsiteX74" fmla="*/ 2946823 w 12305293"/>
              <a:gd name="connsiteY74" fmla="*/ 2648001 h 3722511"/>
              <a:gd name="connsiteX75" fmla="*/ 6315875 w 12305293"/>
              <a:gd name="connsiteY75" fmla="*/ 2458142 h 3722511"/>
              <a:gd name="connsiteX76" fmla="*/ 6464458 w 12305293"/>
              <a:gd name="connsiteY76" fmla="*/ 2535954 h 3722511"/>
              <a:gd name="connsiteX77" fmla="*/ 6315875 w 12305293"/>
              <a:gd name="connsiteY77" fmla="*/ 2535954 h 3722511"/>
              <a:gd name="connsiteX78" fmla="*/ 6315875 w 12305293"/>
              <a:gd name="connsiteY78" fmla="*/ 2458142 h 3722511"/>
              <a:gd name="connsiteX79" fmla="*/ 1155115 w 12305293"/>
              <a:gd name="connsiteY79" fmla="*/ 2386064 h 3722511"/>
              <a:gd name="connsiteX80" fmla="*/ 1490024 w 12305293"/>
              <a:gd name="connsiteY80" fmla="*/ 2654788 h 3722511"/>
              <a:gd name="connsiteX81" fmla="*/ 1493718 w 12305293"/>
              <a:gd name="connsiteY81" fmla="*/ 2690879 h 3722511"/>
              <a:gd name="connsiteX82" fmla="*/ 1587686 w 12305293"/>
              <a:gd name="connsiteY82" fmla="*/ 2690879 h 3722511"/>
              <a:gd name="connsiteX83" fmla="*/ 1587686 w 12305293"/>
              <a:gd name="connsiteY83" fmla="*/ 2754379 h 3722511"/>
              <a:gd name="connsiteX84" fmla="*/ 1556890 w 12305293"/>
              <a:gd name="connsiteY84" fmla="*/ 2754379 h 3722511"/>
              <a:gd name="connsiteX85" fmla="*/ 1556890 w 12305293"/>
              <a:gd name="connsiteY85" fmla="*/ 3254429 h 3722511"/>
              <a:gd name="connsiteX86" fmla="*/ 1597376 w 12305293"/>
              <a:gd name="connsiteY86" fmla="*/ 3254429 h 3722511"/>
              <a:gd name="connsiteX87" fmla="*/ 1597376 w 12305293"/>
              <a:gd name="connsiteY87" fmla="*/ 3722511 h 3722511"/>
              <a:gd name="connsiteX88" fmla="*/ 712805 w 12305293"/>
              <a:gd name="connsiteY88" fmla="*/ 3722511 h 3722511"/>
              <a:gd name="connsiteX89" fmla="*/ 712805 w 12305293"/>
              <a:gd name="connsiteY89" fmla="*/ 3254429 h 3722511"/>
              <a:gd name="connsiteX90" fmla="*/ 753308 w 12305293"/>
              <a:gd name="connsiteY90" fmla="*/ 3254429 h 3722511"/>
              <a:gd name="connsiteX91" fmla="*/ 753308 w 12305293"/>
              <a:gd name="connsiteY91" fmla="*/ 2754379 h 3722511"/>
              <a:gd name="connsiteX92" fmla="*/ 725784 w 12305293"/>
              <a:gd name="connsiteY92" fmla="*/ 2754379 h 3722511"/>
              <a:gd name="connsiteX93" fmla="*/ 725783 w 12305293"/>
              <a:gd name="connsiteY93" fmla="*/ 2754379 h 3722511"/>
              <a:gd name="connsiteX94" fmla="*/ 725783 w 12305293"/>
              <a:gd name="connsiteY94" fmla="*/ 2754375 h 3722511"/>
              <a:gd name="connsiteX95" fmla="*/ 725770 w 12305293"/>
              <a:gd name="connsiteY95" fmla="*/ 2754375 h 3722511"/>
              <a:gd name="connsiteX96" fmla="*/ 725770 w 12305293"/>
              <a:gd name="connsiteY96" fmla="*/ 2690875 h 3722511"/>
              <a:gd name="connsiteX97" fmla="*/ 813259 w 12305293"/>
              <a:gd name="connsiteY97" fmla="*/ 2690875 h 3722511"/>
              <a:gd name="connsiteX98" fmla="*/ 813273 w 12305293"/>
              <a:gd name="connsiteY98" fmla="*/ 2690875 h 3722511"/>
              <a:gd name="connsiteX99" fmla="*/ 818269 w 12305293"/>
              <a:gd name="connsiteY99" fmla="*/ 2673636 h 3722511"/>
              <a:gd name="connsiteX100" fmla="*/ 820196 w 12305293"/>
              <a:gd name="connsiteY100" fmla="*/ 2654788 h 3722511"/>
              <a:gd name="connsiteX101" fmla="*/ 833127 w 12305293"/>
              <a:gd name="connsiteY101" fmla="*/ 2622359 h 3722511"/>
              <a:gd name="connsiteX102" fmla="*/ 846192 w 12305293"/>
              <a:gd name="connsiteY102" fmla="*/ 2577292 h 3722511"/>
              <a:gd name="connsiteX103" fmla="*/ 856734 w 12305293"/>
              <a:gd name="connsiteY103" fmla="*/ 2563166 h 3722511"/>
              <a:gd name="connsiteX104" fmla="*/ 862739 w 12305293"/>
              <a:gd name="connsiteY104" fmla="*/ 2548101 h 3722511"/>
              <a:gd name="connsiteX105" fmla="*/ 897349 w 12305293"/>
              <a:gd name="connsiteY105" fmla="*/ 2508748 h 3722511"/>
              <a:gd name="connsiteX106" fmla="*/ 915823 w 12305293"/>
              <a:gd name="connsiteY106" fmla="*/ 2483994 h 3722511"/>
              <a:gd name="connsiteX107" fmla="*/ 926895 w 12305293"/>
              <a:gd name="connsiteY107" fmla="*/ 2475150 h 3722511"/>
              <a:gd name="connsiteX108" fmla="*/ 937650 w 12305293"/>
              <a:gd name="connsiteY108" fmla="*/ 2462916 h 3722511"/>
              <a:gd name="connsiteX109" fmla="*/ 1094597 w 12305293"/>
              <a:gd name="connsiteY109" fmla="*/ 2391320 h 3722511"/>
              <a:gd name="connsiteX110" fmla="*/ 1145816 w 12305293"/>
              <a:gd name="connsiteY110" fmla="*/ 2386872 h 3722511"/>
              <a:gd name="connsiteX111" fmla="*/ 1145816 w 12305293"/>
              <a:gd name="connsiteY111" fmla="*/ 2386077 h 3722511"/>
              <a:gd name="connsiteX112" fmla="*/ 1148921 w 12305293"/>
              <a:gd name="connsiteY112" fmla="*/ 2386077 h 3722511"/>
              <a:gd name="connsiteX113" fmla="*/ 1152027 w 12305293"/>
              <a:gd name="connsiteY113" fmla="*/ 2386077 h 3722511"/>
              <a:gd name="connsiteX114" fmla="*/ 1154965 w 12305293"/>
              <a:gd name="connsiteY114" fmla="*/ 2386077 h 3722511"/>
              <a:gd name="connsiteX115" fmla="*/ 2565784 w 12305293"/>
              <a:gd name="connsiteY115" fmla="*/ 2202783 h 3722511"/>
              <a:gd name="connsiteX116" fmla="*/ 2578487 w 12305293"/>
              <a:gd name="connsiteY116" fmla="*/ 2225179 h 3722511"/>
              <a:gd name="connsiteX117" fmla="*/ 2603093 w 12305293"/>
              <a:gd name="connsiteY117" fmla="*/ 2264359 h 3722511"/>
              <a:gd name="connsiteX118" fmla="*/ 2610026 w 12305293"/>
              <a:gd name="connsiteY118" fmla="*/ 2272947 h 3722511"/>
              <a:gd name="connsiteX119" fmla="*/ 2642542 w 12305293"/>
              <a:gd name="connsiteY119" fmla="*/ 2310231 h 3722511"/>
              <a:gd name="connsiteX120" fmla="*/ 2642970 w 12305293"/>
              <a:gd name="connsiteY120" fmla="*/ 2306384 h 3722511"/>
              <a:gd name="connsiteX121" fmla="*/ 2650840 w 12305293"/>
              <a:gd name="connsiteY121" fmla="*/ 2211284 h 3722511"/>
              <a:gd name="connsiteX122" fmla="*/ 2646489 w 12305293"/>
              <a:gd name="connsiteY122" fmla="*/ 2210693 h 3722511"/>
              <a:gd name="connsiteX123" fmla="*/ 2633487 w 12305293"/>
              <a:gd name="connsiteY123" fmla="*/ 2208925 h 3722511"/>
              <a:gd name="connsiteX124" fmla="*/ 2621182 w 12305293"/>
              <a:gd name="connsiteY124" fmla="*/ 2207253 h 3722511"/>
              <a:gd name="connsiteX125" fmla="*/ 10960470 w 12305293"/>
              <a:gd name="connsiteY125" fmla="*/ 2046601 h 3722511"/>
              <a:gd name="connsiteX126" fmla="*/ 10937308 w 12305293"/>
              <a:gd name="connsiteY126" fmla="*/ 2081629 h 3722511"/>
              <a:gd name="connsiteX127" fmla="*/ 10937308 w 12305293"/>
              <a:gd name="connsiteY127" fmla="*/ 3014574 h 3722511"/>
              <a:gd name="connsiteX128" fmla="*/ 10937308 w 12305293"/>
              <a:gd name="connsiteY128" fmla="*/ 3133711 h 3722511"/>
              <a:gd name="connsiteX129" fmla="*/ 10937990 w 12305293"/>
              <a:gd name="connsiteY129" fmla="*/ 3134251 h 3722511"/>
              <a:gd name="connsiteX130" fmla="*/ 10937990 w 12305293"/>
              <a:gd name="connsiteY130" fmla="*/ 2081284 h 3722511"/>
              <a:gd name="connsiteX131" fmla="*/ 6208575 w 12305293"/>
              <a:gd name="connsiteY131" fmla="*/ 2026397 h 3722511"/>
              <a:gd name="connsiteX132" fmla="*/ 6208575 w 12305293"/>
              <a:gd name="connsiteY132" fmla="*/ 2536122 h 3722511"/>
              <a:gd name="connsiteX133" fmla="*/ 6597943 w 12305293"/>
              <a:gd name="connsiteY133" fmla="*/ 2536122 h 3722511"/>
              <a:gd name="connsiteX134" fmla="*/ 6208575 w 12305293"/>
              <a:gd name="connsiteY134" fmla="*/ 2026397 h 3722511"/>
              <a:gd name="connsiteX135" fmla="*/ 11245806 w 12305293"/>
              <a:gd name="connsiteY135" fmla="*/ 1609787 h 3722511"/>
              <a:gd name="connsiteX136" fmla="*/ 11550381 w 12305293"/>
              <a:gd name="connsiteY136" fmla="*/ 2081284 h 3722511"/>
              <a:gd name="connsiteX137" fmla="*/ 11550381 w 12305293"/>
              <a:gd name="connsiteY137" fmla="*/ 2972709 h 3722511"/>
              <a:gd name="connsiteX138" fmla="*/ 11552173 w 12305293"/>
              <a:gd name="connsiteY138" fmla="*/ 2972709 h 3722511"/>
              <a:gd name="connsiteX139" fmla="*/ 11716086 w 12305293"/>
              <a:gd name="connsiteY139" fmla="*/ 2972709 h 3722511"/>
              <a:gd name="connsiteX140" fmla="*/ 11716086 w 12305293"/>
              <a:gd name="connsiteY140" fmla="*/ 3469088 h 3722511"/>
              <a:gd name="connsiteX141" fmla="*/ 11716086 w 12305293"/>
              <a:gd name="connsiteY141" fmla="*/ 3575086 h 3722511"/>
              <a:gd name="connsiteX142" fmla="*/ 11717206 w 12305293"/>
              <a:gd name="connsiteY142" fmla="*/ 3575086 h 3722511"/>
              <a:gd name="connsiteX143" fmla="*/ 11717206 w 12305293"/>
              <a:gd name="connsiteY143" fmla="*/ 2862263 h 3722511"/>
              <a:gd name="connsiteX144" fmla="*/ 11744266 w 12305293"/>
              <a:gd name="connsiteY144" fmla="*/ 2862263 h 3722511"/>
              <a:gd name="connsiteX145" fmla="*/ 11744266 w 12305293"/>
              <a:gd name="connsiteY145" fmla="*/ 2858069 h 3722511"/>
              <a:gd name="connsiteX146" fmla="*/ 11744266 w 12305293"/>
              <a:gd name="connsiteY146" fmla="*/ 2593686 h 3722511"/>
              <a:gd name="connsiteX147" fmla="*/ 12059363 w 12305293"/>
              <a:gd name="connsiteY147" fmla="*/ 2593686 h 3722511"/>
              <a:gd name="connsiteX148" fmla="*/ 12059363 w 12305293"/>
              <a:gd name="connsiteY148" fmla="*/ 2023897 h 3722511"/>
              <a:gd name="connsiteX149" fmla="*/ 12305293 w 12305293"/>
              <a:gd name="connsiteY149" fmla="*/ 2023897 h 3722511"/>
              <a:gd name="connsiteX150" fmla="*/ 12305293 w 12305293"/>
              <a:gd name="connsiteY150" fmla="*/ 3577968 h 3722511"/>
              <a:gd name="connsiteX151" fmla="*/ 12305293 w 12305293"/>
              <a:gd name="connsiteY151" fmla="*/ 3722511 h 3722511"/>
              <a:gd name="connsiteX152" fmla="*/ 12213069 w 12305293"/>
              <a:gd name="connsiteY152" fmla="*/ 3722511 h 3722511"/>
              <a:gd name="connsiteX153" fmla="*/ 12213069 w 12305293"/>
              <a:gd name="connsiteY153" fmla="*/ 3713498 h 3722511"/>
              <a:gd name="connsiteX154" fmla="*/ 12213069 w 12305293"/>
              <a:gd name="connsiteY154" fmla="*/ 3575130 h 3722511"/>
              <a:gd name="connsiteX155" fmla="*/ 12212958 w 12305293"/>
              <a:gd name="connsiteY155" fmla="*/ 3575130 h 3722511"/>
              <a:gd name="connsiteX156" fmla="*/ 12212958 w 12305293"/>
              <a:gd name="connsiteY156" fmla="*/ 3722511 h 3722511"/>
              <a:gd name="connsiteX157" fmla="*/ 10750299 w 12305293"/>
              <a:gd name="connsiteY157" fmla="*/ 3722511 h 3722511"/>
              <a:gd name="connsiteX158" fmla="*/ 10750299 w 12305293"/>
              <a:gd name="connsiteY158" fmla="*/ 3665739 h 3722511"/>
              <a:gd name="connsiteX159" fmla="*/ 10750299 w 12305293"/>
              <a:gd name="connsiteY159" fmla="*/ 2395390 h 3722511"/>
              <a:gd name="connsiteX160" fmla="*/ 10834837 w 12305293"/>
              <a:gd name="connsiteY160" fmla="*/ 2440571 h 3722511"/>
              <a:gd name="connsiteX161" fmla="*/ 10834837 w 12305293"/>
              <a:gd name="connsiteY161" fmla="*/ 1903413 h 3722511"/>
              <a:gd name="connsiteX162" fmla="*/ 10982429 w 12305293"/>
              <a:gd name="connsiteY162" fmla="*/ 1903413 h 3722511"/>
              <a:gd name="connsiteX163" fmla="*/ 11053278 w 12305293"/>
              <a:gd name="connsiteY163" fmla="*/ 1903413 h 3722511"/>
              <a:gd name="connsiteX164" fmla="*/ 11242565 w 12305293"/>
              <a:gd name="connsiteY164" fmla="*/ 1611374 h 3722511"/>
              <a:gd name="connsiteX165" fmla="*/ 11124299 w 12305293"/>
              <a:gd name="connsiteY165" fmla="*/ 2086046 h 3722511"/>
              <a:gd name="connsiteX166" fmla="*/ 11124469 w 12305293"/>
              <a:gd name="connsiteY166" fmla="*/ 2086046 h 3722511"/>
              <a:gd name="connsiteX167" fmla="*/ 11125038 w 12305293"/>
              <a:gd name="connsiteY167" fmla="*/ 2083786 h 3722511"/>
              <a:gd name="connsiteX168" fmla="*/ 11170430 w 12305293"/>
              <a:gd name="connsiteY168" fmla="*/ 1903413 h 3722511"/>
              <a:gd name="connsiteX169" fmla="*/ 11226788 w 12305293"/>
              <a:gd name="connsiteY169" fmla="*/ 1903413 h 3722511"/>
              <a:gd name="connsiteX170" fmla="*/ 11226788 w 12305293"/>
              <a:gd name="connsiteY170" fmla="*/ 1918757 h 3722511"/>
              <a:gd name="connsiteX171" fmla="*/ 11226788 w 12305293"/>
              <a:gd name="connsiteY171" fmla="*/ 1932567 h 3722511"/>
              <a:gd name="connsiteX172" fmla="*/ 11237702 w 12305293"/>
              <a:gd name="connsiteY172" fmla="*/ 1930408 h 3722511"/>
              <a:gd name="connsiteX173" fmla="*/ 11317086 w 12305293"/>
              <a:gd name="connsiteY173" fmla="*/ 2008196 h 3722511"/>
              <a:gd name="connsiteX174" fmla="*/ 11237702 w 12305293"/>
              <a:gd name="connsiteY174" fmla="*/ 2085984 h 3722511"/>
              <a:gd name="connsiteX175" fmla="*/ 11226788 w 12305293"/>
              <a:gd name="connsiteY175" fmla="*/ 2083825 h 3722511"/>
              <a:gd name="connsiteX176" fmla="*/ 11226788 w 12305293"/>
              <a:gd name="connsiteY176" fmla="*/ 2086046 h 3722511"/>
              <a:gd name="connsiteX177" fmla="*/ 11362452 w 12305293"/>
              <a:gd name="connsiteY177" fmla="*/ 2086046 h 3722511"/>
              <a:gd name="connsiteX178" fmla="*/ 11242565 w 12305293"/>
              <a:gd name="connsiteY178" fmla="*/ 1611374 h 3722511"/>
              <a:gd name="connsiteX179" fmla="*/ 7558484 w 12305293"/>
              <a:gd name="connsiteY179" fmla="*/ 1533541 h 3722511"/>
              <a:gd name="connsiteX180" fmla="*/ 7642728 w 12305293"/>
              <a:gd name="connsiteY180" fmla="*/ 1533541 h 3722511"/>
              <a:gd name="connsiteX181" fmla="*/ 7642728 w 12305293"/>
              <a:gd name="connsiteY181" fmla="*/ 1544514 h 3722511"/>
              <a:gd name="connsiteX182" fmla="*/ 7642728 w 12305293"/>
              <a:gd name="connsiteY182" fmla="*/ 1579579 h 3722511"/>
              <a:gd name="connsiteX183" fmla="*/ 7642728 w 12305293"/>
              <a:gd name="connsiteY183" fmla="*/ 1581166 h 3722511"/>
              <a:gd name="connsiteX184" fmla="*/ 7642728 w 12305293"/>
              <a:gd name="connsiteY184" fmla="*/ 1622442 h 3722511"/>
              <a:gd name="connsiteX185" fmla="*/ 7642728 w 12305293"/>
              <a:gd name="connsiteY185" fmla="*/ 1627204 h 3722511"/>
              <a:gd name="connsiteX186" fmla="*/ 7642728 w 12305293"/>
              <a:gd name="connsiteY186" fmla="*/ 1666892 h 3722511"/>
              <a:gd name="connsiteX187" fmla="*/ 7642728 w 12305293"/>
              <a:gd name="connsiteY187" fmla="*/ 1670067 h 3722511"/>
              <a:gd name="connsiteX188" fmla="*/ 7642728 w 12305293"/>
              <a:gd name="connsiteY188" fmla="*/ 1712930 h 3722511"/>
              <a:gd name="connsiteX189" fmla="*/ 7642728 w 12305293"/>
              <a:gd name="connsiteY189" fmla="*/ 1714517 h 3722511"/>
              <a:gd name="connsiteX190" fmla="*/ 7642728 w 12305293"/>
              <a:gd name="connsiteY190" fmla="*/ 1757380 h 3722511"/>
              <a:gd name="connsiteX191" fmla="*/ 7642728 w 12305293"/>
              <a:gd name="connsiteY191" fmla="*/ 1760555 h 3722511"/>
              <a:gd name="connsiteX192" fmla="*/ 7642728 w 12305293"/>
              <a:gd name="connsiteY192" fmla="*/ 1803418 h 3722511"/>
              <a:gd name="connsiteX193" fmla="*/ 7642728 w 12305293"/>
              <a:gd name="connsiteY193" fmla="*/ 1805005 h 3722511"/>
              <a:gd name="connsiteX194" fmla="*/ 7642728 w 12305293"/>
              <a:gd name="connsiteY194" fmla="*/ 1847868 h 3722511"/>
              <a:gd name="connsiteX195" fmla="*/ 7642728 w 12305293"/>
              <a:gd name="connsiteY195" fmla="*/ 1851043 h 3722511"/>
              <a:gd name="connsiteX196" fmla="*/ 7642728 w 12305293"/>
              <a:gd name="connsiteY196" fmla="*/ 1892318 h 3722511"/>
              <a:gd name="connsiteX197" fmla="*/ 7642728 w 12305293"/>
              <a:gd name="connsiteY197" fmla="*/ 1895493 h 3722511"/>
              <a:gd name="connsiteX198" fmla="*/ 7642728 w 12305293"/>
              <a:gd name="connsiteY198" fmla="*/ 1941531 h 3722511"/>
              <a:gd name="connsiteX199" fmla="*/ 7558484 w 12305293"/>
              <a:gd name="connsiteY199" fmla="*/ 1941531 h 3722511"/>
              <a:gd name="connsiteX200" fmla="*/ 7558484 w 12305293"/>
              <a:gd name="connsiteY200" fmla="*/ 1895493 h 3722511"/>
              <a:gd name="connsiteX201" fmla="*/ 7558484 w 12305293"/>
              <a:gd name="connsiteY201" fmla="*/ 1892318 h 3722511"/>
              <a:gd name="connsiteX202" fmla="*/ 7558484 w 12305293"/>
              <a:gd name="connsiteY202" fmla="*/ 1851043 h 3722511"/>
              <a:gd name="connsiteX203" fmla="*/ 7558484 w 12305293"/>
              <a:gd name="connsiteY203" fmla="*/ 1847868 h 3722511"/>
              <a:gd name="connsiteX204" fmla="*/ 7558484 w 12305293"/>
              <a:gd name="connsiteY204" fmla="*/ 1805005 h 3722511"/>
              <a:gd name="connsiteX205" fmla="*/ 7558484 w 12305293"/>
              <a:gd name="connsiteY205" fmla="*/ 1803418 h 3722511"/>
              <a:gd name="connsiteX206" fmla="*/ 7558484 w 12305293"/>
              <a:gd name="connsiteY206" fmla="*/ 1760555 h 3722511"/>
              <a:gd name="connsiteX207" fmla="*/ 7558484 w 12305293"/>
              <a:gd name="connsiteY207" fmla="*/ 1757380 h 3722511"/>
              <a:gd name="connsiteX208" fmla="*/ 7558484 w 12305293"/>
              <a:gd name="connsiteY208" fmla="*/ 1714517 h 3722511"/>
              <a:gd name="connsiteX209" fmla="*/ 7558484 w 12305293"/>
              <a:gd name="connsiteY209" fmla="*/ 1712930 h 3722511"/>
              <a:gd name="connsiteX210" fmla="*/ 7558484 w 12305293"/>
              <a:gd name="connsiteY210" fmla="*/ 1670067 h 3722511"/>
              <a:gd name="connsiteX211" fmla="*/ 7558484 w 12305293"/>
              <a:gd name="connsiteY211" fmla="*/ 1666892 h 3722511"/>
              <a:gd name="connsiteX212" fmla="*/ 7558484 w 12305293"/>
              <a:gd name="connsiteY212" fmla="*/ 1627204 h 3722511"/>
              <a:gd name="connsiteX213" fmla="*/ 7558484 w 12305293"/>
              <a:gd name="connsiteY213" fmla="*/ 1622442 h 3722511"/>
              <a:gd name="connsiteX214" fmla="*/ 7558484 w 12305293"/>
              <a:gd name="connsiteY214" fmla="*/ 1581166 h 3722511"/>
              <a:gd name="connsiteX215" fmla="*/ 7558484 w 12305293"/>
              <a:gd name="connsiteY215" fmla="*/ 1579579 h 3722511"/>
              <a:gd name="connsiteX216" fmla="*/ 1989231 w 12305293"/>
              <a:gd name="connsiteY216" fmla="*/ 1441086 h 3722511"/>
              <a:gd name="connsiteX217" fmla="*/ 1988695 w 12305293"/>
              <a:gd name="connsiteY217" fmla="*/ 1452607 h 3722511"/>
              <a:gd name="connsiteX218" fmla="*/ 1988961 w 12305293"/>
              <a:gd name="connsiteY218" fmla="*/ 1446877 h 3722511"/>
              <a:gd name="connsiteX219" fmla="*/ 1990194 w 12305293"/>
              <a:gd name="connsiteY219" fmla="*/ 1420396 h 3722511"/>
              <a:gd name="connsiteX220" fmla="*/ 1989661 w 12305293"/>
              <a:gd name="connsiteY220" fmla="*/ 1431892 h 3722511"/>
              <a:gd name="connsiteX221" fmla="*/ 1989231 w 12305293"/>
              <a:gd name="connsiteY221" fmla="*/ 1441086 h 3722511"/>
              <a:gd name="connsiteX222" fmla="*/ 6080978 w 12305293"/>
              <a:gd name="connsiteY222" fmla="*/ 1368460 h 3722511"/>
              <a:gd name="connsiteX223" fmla="*/ 6121479 w 12305293"/>
              <a:gd name="connsiteY223" fmla="*/ 1368460 h 3722511"/>
              <a:gd name="connsiteX224" fmla="*/ 6121479 w 12305293"/>
              <a:gd name="connsiteY224" fmla="*/ 1812965 h 3722511"/>
              <a:gd name="connsiteX225" fmla="*/ 6080978 w 12305293"/>
              <a:gd name="connsiteY225" fmla="*/ 1812965 h 3722511"/>
              <a:gd name="connsiteX226" fmla="*/ 469822 w 12305293"/>
              <a:gd name="connsiteY226" fmla="*/ 1366890 h 3722511"/>
              <a:gd name="connsiteX227" fmla="*/ 539484 w 12305293"/>
              <a:gd name="connsiteY227" fmla="*/ 1366890 h 3722511"/>
              <a:gd name="connsiteX228" fmla="*/ 539484 w 12305293"/>
              <a:gd name="connsiteY228" fmla="*/ 1369942 h 3722511"/>
              <a:gd name="connsiteX229" fmla="*/ 469822 w 12305293"/>
              <a:gd name="connsiteY229" fmla="*/ 1369942 h 3722511"/>
              <a:gd name="connsiteX230" fmla="*/ 469822 w 12305293"/>
              <a:gd name="connsiteY230" fmla="*/ 1366890 h 3722511"/>
              <a:gd name="connsiteX231" fmla="*/ 1993028 w 12305293"/>
              <a:gd name="connsiteY231" fmla="*/ 1359587 h 3722511"/>
              <a:gd name="connsiteX232" fmla="*/ 1991020 w 12305293"/>
              <a:gd name="connsiteY232" fmla="*/ 1402711 h 3722511"/>
              <a:gd name="connsiteX233" fmla="*/ 1990194 w 12305293"/>
              <a:gd name="connsiteY233" fmla="*/ 1420396 h 3722511"/>
              <a:gd name="connsiteX234" fmla="*/ 10238104 w 12305293"/>
              <a:gd name="connsiteY234" fmla="*/ 1343060 h 3722511"/>
              <a:gd name="connsiteX235" fmla="*/ 10279980 w 12305293"/>
              <a:gd name="connsiteY235" fmla="*/ 1343060 h 3722511"/>
              <a:gd name="connsiteX236" fmla="*/ 10330452 w 12305293"/>
              <a:gd name="connsiteY236" fmla="*/ 1343060 h 3722511"/>
              <a:gd name="connsiteX237" fmla="*/ 10482908 w 12305293"/>
              <a:gd name="connsiteY237" fmla="*/ 1343060 h 3722511"/>
              <a:gd name="connsiteX238" fmla="*/ 10492457 w 12305293"/>
              <a:gd name="connsiteY238" fmla="*/ 1343060 h 3722511"/>
              <a:gd name="connsiteX239" fmla="*/ 10503127 w 12305293"/>
              <a:gd name="connsiteY239" fmla="*/ 1343060 h 3722511"/>
              <a:gd name="connsiteX240" fmla="*/ 10517881 w 12305293"/>
              <a:gd name="connsiteY240" fmla="*/ 1343060 h 3722511"/>
              <a:gd name="connsiteX241" fmla="*/ 10707928 w 12305293"/>
              <a:gd name="connsiteY241" fmla="*/ 1343060 h 3722511"/>
              <a:gd name="connsiteX242" fmla="*/ 10685970 w 12305293"/>
              <a:gd name="connsiteY242" fmla="*/ 2282834 h 3722511"/>
              <a:gd name="connsiteX243" fmla="*/ 10717657 w 12305293"/>
              <a:gd name="connsiteY243" fmla="*/ 2282834 h 3722511"/>
              <a:gd name="connsiteX244" fmla="*/ 10750058 w 12305293"/>
              <a:gd name="connsiteY244" fmla="*/ 2282834 h 3722511"/>
              <a:gd name="connsiteX245" fmla="*/ 10750058 w 12305293"/>
              <a:gd name="connsiteY245" fmla="*/ 3722511 h 3722511"/>
              <a:gd name="connsiteX246" fmla="*/ 10027880 w 12305293"/>
              <a:gd name="connsiteY246" fmla="*/ 3722511 h 3722511"/>
              <a:gd name="connsiteX247" fmla="*/ 10027880 w 12305293"/>
              <a:gd name="connsiteY247" fmla="*/ 3718205 h 3722511"/>
              <a:gd name="connsiteX248" fmla="*/ 10027880 w 12305293"/>
              <a:gd name="connsiteY248" fmla="*/ 3680554 h 3722511"/>
              <a:gd name="connsiteX249" fmla="*/ 10027880 w 12305293"/>
              <a:gd name="connsiteY249" fmla="*/ 3660473 h 3722511"/>
              <a:gd name="connsiteX250" fmla="*/ 10027880 w 12305293"/>
              <a:gd name="connsiteY250" fmla="*/ 3622822 h 3722511"/>
              <a:gd name="connsiteX251" fmla="*/ 10027880 w 12305293"/>
              <a:gd name="connsiteY251" fmla="*/ 3602741 h 3722511"/>
              <a:gd name="connsiteX252" fmla="*/ 10027880 w 12305293"/>
              <a:gd name="connsiteY252" fmla="*/ 3565090 h 3722511"/>
              <a:gd name="connsiteX253" fmla="*/ 10027880 w 12305293"/>
              <a:gd name="connsiteY253" fmla="*/ 3545009 h 3722511"/>
              <a:gd name="connsiteX254" fmla="*/ 10027880 w 12305293"/>
              <a:gd name="connsiteY254" fmla="*/ 3507358 h 3722511"/>
              <a:gd name="connsiteX255" fmla="*/ 10027880 w 12305293"/>
              <a:gd name="connsiteY255" fmla="*/ 3487277 h 3722511"/>
              <a:gd name="connsiteX256" fmla="*/ 10027880 w 12305293"/>
              <a:gd name="connsiteY256" fmla="*/ 3449626 h 3722511"/>
              <a:gd name="connsiteX257" fmla="*/ 10027880 w 12305293"/>
              <a:gd name="connsiteY257" fmla="*/ 3429545 h 3722511"/>
              <a:gd name="connsiteX258" fmla="*/ 10027880 w 12305293"/>
              <a:gd name="connsiteY258" fmla="*/ 3391894 h 3722511"/>
              <a:gd name="connsiteX259" fmla="*/ 10027880 w 12305293"/>
              <a:gd name="connsiteY259" fmla="*/ 3371813 h 3722511"/>
              <a:gd name="connsiteX260" fmla="*/ 10027880 w 12305293"/>
              <a:gd name="connsiteY260" fmla="*/ 3334162 h 3722511"/>
              <a:gd name="connsiteX261" fmla="*/ 10027880 w 12305293"/>
              <a:gd name="connsiteY261" fmla="*/ 3314081 h 3722511"/>
              <a:gd name="connsiteX262" fmla="*/ 10027880 w 12305293"/>
              <a:gd name="connsiteY262" fmla="*/ 3276430 h 3722511"/>
              <a:gd name="connsiteX263" fmla="*/ 10027880 w 12305293"/>
              <a:gd name="connsiteY263" fmla="*/ 3256349 h 3722511"/>
              <a:gd name="connsiteX264" fmla="*/ 10027880 w 12305293"/>
              <a:gd name="connsiteY264" fmla="*/ 3218698 h 3722511"/>
              <a:gd name="connsiteX265" fmla="*/ 10027880 w 12305293"/>
              <a:gd name="connsiteY265" fmla="*/ 3198617 h 3722511"/>
              <a:gd name="connsiteX266" fmla="*/ 10027880 w 12305293"/>
              <a:gd name="connsiteY266" fmla="*/ 3160966 h 3722511"/>
              <a:gd name="connsiteX267" fmla="*/ 10027880 w 12305293"/>
              <a:gd name="connsiteY267" fmla="*/ 3140885 h 3722511"/>
              <a:gd name="connsiteX268" fmla="*/ 10027880 w 12305293"/>
              <a:gd name="connsiteY268" fmla="*/ 3103234 h 3722511"/>
              <a:gd name="connsiteX269" fmla="*/ 10027880 w 12305293"/>
              <a:gd name="connsiteY269" fmla="*/ 3083153 h 3722511"/>
              <a:gd name="connsiteX270" fmla="*/ 10027880 w 12305293"/>
              <a:gd name="connsiteY270" fmla="*/ 3048012 h 3722511"/>
              <a:gd name="connsiteX271" fmla="*/ 10027880 w 12305293"/>
              <a:gd name="connsiteY271" fmla="*/ 3025421 h 3722511"/>
              <a:gd name="connsiteX272" fmla="*/ 10027880 w 12305293"/>
              <a:gd name="connsiteY272" fmla="*/ 2990280 h 3722511"/>
              <a:gd name="connsiteX273" fmla="*/ 10027880 w 12305293"/>
              <a:gd name="connsiteY273" fmla="*/ 2967689 h 3722511"/>
              <a:gd name="connsiteX274" fmla="*/ 10027880 w 12305293"/>
              <a:gd name="connsiteY274" fmla="*/ 2932548 h 3722511"/>
              <a:gd name="connsiteX275" fmla="*/ 10027880 w 12305293"/>
              <a:gd name="connsiteY275" fmla="*/ 2909957 h 3722511"/>
              <a:gd name="connsiteX276" fmla="*/ 10027880 w 12305293"/>
              <a:gd name="connsiteY276" fmla="*/ 2874816 h 3722511"/>
              <a:gd name="connsiteX277" fmla="*/ 10027880 w 12305293"/>
              <a:gd name="connsiteY277" fmla="*/ 2854735 h 3722511"/>
              <a:gd name="connsiteX278" fmla="*/ 10027880 w 12305293"/>
              <a:gd name="connsiteY278" fmla="*/ 2817084 h 3722511"/>
              <a:gd name="connsiteX279" fmla="*/ 10027880 w 12305293"/>
              <a:gd name="connsiteY279" fmla="*/ 2797003 h 3722511"/>
              <a:gd name="connsiteX280" fmla="*/ 10027880 w 12305293"/>
              <a:gd name="connsiteY280" fmla="*/ 2759352 h 3722511"/>
              <a:gd name="connsiteX281" fmla="*/ 10027880 w 12305293"/>
              <a:gd name="connsiteY281" fmla="*/ 2739271 h 3722511"/>
              <a:gd name="connsiteX282" fmla="*/ 10027880 w 12305293"/>
              <a:gd name="connsiteY282" fmla="*/ 2701620 h 3722511"/>
              <a:gd name="connsiteX283" fmla="*/ 10027880 w 12305293"/>
              <a:gd name="connsiteY283" fmla="*/ 2681539 h 3722511"/>
              <a:gd name="connsiteX284" fmla="*/ 10027880 w 12305293"/>
              <a:gd name="connsiteY284" fmla="*/ 2643888 h 3722511"/>
              <a:gd name="connsiteX285" fmla="*/ 10027880 w 12305293"/>
              <a:gd name="connsiteY285" fmla="*/ 2623807 h 3722511"/>
              <a:gd name="connsiteX286" fmla="*/ 10027880 w 12305293"/>
              <a:gd name="connsiteY286" fmla="*/ 2586156 h 3722511"/>
              <a:gd name="connsiteX287" fmla="*/ 10027880 w 12305293"/>
              <a:gd name="connsiteY287" fmla="*/ 2578626 h 3722511"/>
              <a:gd name="connsiteX288" fmla="*/ 10035566 w 12305293"/>
              <a:gd name="connsiteY288" fmla="*/ 2578626 h 3722511"/>
              <a:gd name="connsiteX289" fmla="*/ 10035566 w 12305293"/>
              <a:gd name="connsiteY289" fmla="*/ 2350208 h 3722511"/>
              <a:gd name="connsiteX290" fmla="*/ 10094486 w 12305293"/>
              <a:gd name="connsiteY290" fmla="*/ 2382839 h 3722511"/>
              <a:gd name="connsiteX291" fmla="*/ 10140597 w 12305293"/>
              <a:gd name="connsiteY291" fmla="*/ 3012871 h 3722511"/>
              <a:gd name="connsiteX292" fmla="*/ 10159206 w 12305293"/>
              <a:gd name="connsiteY292" fmla="*/ 3253555 h 3722511"/>
              <a:gd name="connsiteX293" fmla="*/ 10165424 w 12305293"/>
              <a:gd name="connsiteY293" fmla="*/ 3332163 h 3722511"/>
              <a:gd name="connsiteX294" fmla="*/ 10166626 w 12305293"/>
              <a:gd name="connsiteY294" fmla="*/ 3332163 h 3722511"/>
              <a:gd name="connsiteX295" fmla="*/ 10157514 w 12305293"/>
              <a:gd name="connsiteY295" fmla="*/ 3217332 h 3722511"/>
              <a:gd name="connsiteX296" fmla="*/ 10141602 w 12305293"/>
              <a:gd name="connsiteY296" fmla="*/ 3012633 h 3722511"/>
              <a:gd name="connsiteX297" fmla="*/ 10033975 w 12305293"/>
              <a:gd name="connsiteY297" fmla="*/ 1355613 h 3722511"/>
              <a:gd name="connsiteX298" fmla="*/ 10198779 w 12305293"/>
              <a:gd name="connsiteY298" fmla="*/ 1347203 h 3722511"/>
              <a:gd name="connsiteX299" fmla="*/ 10238237 w 12305293"/>
              <a:gd name="connsiteY299" fmla="*/ 1345190 h 3722511"/>
              <a:gd name="connsiteX300" fmla="*/ 1994366 w 12305293"/>
              <a:gd name="connsiteY300" fmla="*/ 1330892 h 3722511"/>
              <a:gd name="connsiteX301" fmla="*/ 1993028 w 12305293"/>
              <a:gd name="connsiteY301" fmla="*/ 1359587 h 3722511"/>
              <a:gd name="connsiteX302" fmla="*/ 1993260 w 12305293"/>
              <a:gd name="connsiteY302" fmla="*/ 1354601 h 3722511"/>
              <a:gd name="connsiteX303" fmla="*/ 1995072 w 12305293"/>
              <a:gd name="connsiteY303" fmla="*/ 1315726 h 3722511"/>
              <a:gd name="connsiteX304" fmla="*/ 1994366 w 12305293"/>
              <a:gd name="connsiteY304" fmla="*/ 1330892 h 3722511"/>
              <a:gd name="connsiteX305" fmla="*/ 1994877 w 12305293"/>
              <a:gd name="connsiteY305" fmla="*/ 1319899 h 3722511"/>
              <a:gd name="connsiteX306" fmla="*/ 7742458 w 12305293"/>
              <a:gd name="connsiteY306" fmla="*/ 1257859 h 3722511"/>
              <a:gd name="connsiteX307" fmla="*/ 7742458 w 12305293"/>
              <a:gd name="connsiteY307" fmla="*/ 1280490 h 3722511"/>
              <a:gd name="connsiteX308" fmla="*/ 7803830 w 12305293"/>
              <a:gd name="connsiteY308" fmla="*/ 1280490 h 3722511"/>
              <a:gd name="connsiteX309" fmla="*/ 7803830 w 12305293"/>
              <a:gd name="connsiteY309" fmla="*/ 1257859 h 3722511"/>
              <a:gd name="connsiteX310" fmla="*/ 7742458 w 12305293"/>
              <a:gd name="connsiteY310" fmla="*/ 1257859 h 3722511"/>
              <a:gd name="connsiteX311" fmla="*/ 2001078 w 12305293"/>
              <a:gd name="connsiteY311" fmla="*/ 1186842 h 3722511"/>
              <a:gd name="connsiteX312" fmla="*/ 1996607 w 12305293"/>
              <a:gd name="connsiteY312" fmla="*/ 1282831 h 3722511"/>
              <a:gd name="connsiteX313" fmla="*/ 1995072 w 12305293"/>
              <a:gd name="connsiteY313" fmla="*/ 1315726 h 3722511"/>
              <a:gd name="connsiteX314" fmla="*/ 1999545 w 12305293"/>
              <a:gd name="connsiteY314" fmla="*/ 1219737 h 3722511"/>
              <a:gd name="connsiteX315" fmla="*/ 2001785 w 12305293"/>
              <a:gd name="connsiteY315" fmla="*/ 1171676 h 3722511"/>
              <a:gd name="connsiteX316" fmla="*/ 2001078 w 12305293"/>
              <a:gd name="connsiteY316" fmla="*/ 1186842 h 3722511"/>
              <a:gd name="connsiteX317" fmla="*/ 2001271 w 12305293"/>
              <a:gd name="connsiteY317" fmla="*/ 1182669 h 3722511"/>
              <a:gd name="connsiteX318" fmla="*/ 2003121 w 12305293"/>
              <a:gd name="connsiteY318" fmla="*/ 1142981 h 3722511"/>
              <a:gd name="connsiteX319" fmla="*/ 2002889 w 12305293"/>
              <a:gd name="connsiteY319" fmla="*/ 1147967 h 3722511"/>
              <a:gd name="connsiteX320" fmla="*/ 2001785 w 12305293"/>
              <a:gd name="connsiteY320" fmla="*/ 1171676 h 3722511"/>
              <a:gd name="connsiteX321" fmla="*/ 262344 w 12305293"/>
              <a:gd name="connsiteY321" fmla="*/ 1113683 h 3722511"/>
              <a:gd name="connsiteX322" fmla="*/ 261655 w 12305293"/>
              <a:gd name="connsiteY322" fmla="*/ 1116779 h 3722511"/>
              <a:gd name="connsiteX323" fmla="*/ 261674 w 12305293"/>
              <a:gd name="connsiteY323" fmla="*/ 1116690 h 3722511"/>
              <a:gd name="connsiteX324" fmla="*/ 267151 w 12305293"/>
              <a:gd name="connsiteY324" fmla="*/ 1092123 h 3722511"/>
              <a:gd name="connsiteX325" fmla="*/ 262344 w 12305293"/>
              <a:gd name="connsiteY325" fmla="*/ 1113683 h 3722511"/>
              <a:gd name="connsiteX326" fmla="*/ 263380 w 12305293"/>
              <a:gd name="connsiteY326" fmla="*/ 1109036 h 3722511"/>
              <a:gd name="connsiteX327" fmla="*/ 270308 w 12305293"/>
              <a:gd name="connsiteY327" fmla="*/ 1077963 h 3722511"/>
              <a:gd name="connsiteX328" fmla="*/ 268012 w 12305293"/>
              <a:gd name="connsiteY328" fmla="*/ 1088260 h 3722511"/>
              <a:gd name="connsiteX329" fmla="*/ 267151 w 12305293"/>
              <a:gd name="connsiteY329" fmla="*/ 1092123 h 3722511"/>
              <a:gd name="connsiteX330" fmla="*/ 272169 w 12305293"/>
              <a:gd name="connsiteY330" fmla="*/ 1069613 h 3722511"/>
              <a:gd name="connsiteX331" fmla="*/ 270308 w 12305293"/>
              <a:gd name="connsiteY331" fmla="*/ 1077963 h 3722511"/>
              <a:gd name="connsiteX332" fmla="*/ 270449 w 12305293"/>
              <a:gd name="connsiteY332" fmla="*/ 1077325 h 3722511"/>
              <a:gd name="connsiteX333" fmla="*/ 276117 w 12305293"/>
              <a:gd name="connsiteY333" fmla="*/ 1051901 h 3722511"/>
              <a:gd name="connsiteX334" fmla="*/ 272169 w 12305293"/>
              <a:gd name="connsiteY334" fmla="*/ 1069613 h 3722511"/>
              <a:gd name="connsiteX335" fmla="*/ 275081 w 12305293"/>
              <a:gd name="connsiteY335" fmla="*/ 1056549 h 3722511"/>
              <a:gd name="connsiteX336" fmla="*/ 277031 w 12305293"/>
              <a:gd name="connsiteY336" fmla="*/ 1047801 h 3722511"/>
              <a:gd name="connsiteX337" fmla="*/ 276117 w 12305293"/>
              <a:gd name="connsiteY337" fmla="*/ 1051901 h 3722511"/>
              <a:gd name="connsiteX338" fmla="*/ 276787 w 12305293"/>
              <a:gd name="connsiteY338" fmla="*/ 1048894 h 3722511"/>
              <a:gd name="connsiteX339" fmla="*/ 277031 w 12305293"/>
              <a:gd name="connsiteY339" fmla="*/ 1047801 h 3722511"/>
              <a:gd name="connsiteX340" fmla="*/ 4155691 w 12305293"/>
              <a:gd name="connsiteY340" fmla="*/ 1041533 h 3722511"/>
              <a:gd name="connsiteX341" fmla="*/ 4025446 w 12305293"/>
              <a:gd name="connsiteY341" fmla="*/ 1226214 h 3722511"/>
              <a:gd name="connsiteX342" fmla="*/ 4022567 w 12305293"/>
              <a:gd name="connsiteY342" fmla="*/ 1230359 h 3722511"/>
              <a:gd name="connsiteX343" fmla="*/ 4178028 w 12305293"/>
              <a:gd name="connsiteY343" fmla="*/ 1230359 h 3722511"/>
              <a:gd name="connsiteX344" fmla="*/ 4178028 w 12305293"/>
              <a:gd name="connsiteY344" fmla="*/ 1227498 h 3722511"/>
              <a:gd name="connsiteX345" fmla="*/ 4178028 w 12305293"/>
              <a:gd name="connsiteY345" fmla="*/ 1103769 h 3722511"/>
              <a:gd name="connsiteX346" fmla="*/ 4178028 w 12305293"/>
              <a:gd name="connsiteY346" fmla="*/ 1041533 h 3722511"/>
              <a:gd name="connsiteX347" fmla="*/ 4200732 w 12305293"/>
              <a:gd name="connsiteY347" fmla="*/ 1041446 h 3722511"/>
              <a:gd name="connsiteX348" fmla="*/ 4200732 w 12305293"/>
              <a:gd name="connsiteY348" fmla="*/ 1074529 h 3722511"/>
              <a:gd name="connsiteX349" fmla="*/ 4200732 w 12305293"/>
              <a:gd name="connsiteY349" fmla="*/ 1227947 h 3722511"/>
              <a:gd name="connsiteX350" fmla="*/ 4200732 w 12305293"/>
              <a:gd name="connsiteY350" fmla="*/ 1230359 h 3722511"/>
              <a:gd name="connsiteX351" fmla="*/ 4356259 w 12305293"/>
              <a:gd name="connsiteY351" fmla="*/ 1230359 h 3722511"/>
              <a:gd name="connsiteX352" fmla="*/ 4223030 w 12305293"/>
              <a:gd name="connsiteY352" fmla="*/ 1041446 h 3722511"/>
              <a:gd name="connsiteX353" fmla="*/ 279512 w 12305293"/>
              <a:gd name="connsiteY353" fmla="*/ 1038124 h 3722511"/>
              <a:gd name="connsiteX354" fmla="*/ 277037 w 12305293"/>
              <a:gd name="connsiteY354" fmla="*/ 1047770 h 3722511"/>
              <a:gd name="connsiteX355" fmla="*/ 278206 w 12305293"/>
              <a:gd name="connsiteY355" fmla="*/ 1043211 h 3722511"/>
              <a:gd name="connsiteX356" fmla="*/ 283918 w 12305293"/>
              <a:gd name="connsiteY356" fmla="*/ 1020948 h 3722511"/>
              <a:gd name="connsiteX357" fmla="*/ 280984 w 12305293"/>
              <a:gd name="connsiteY357" fmla="*/ 1032385 h 3722511"/>
              <a:gd name="connsiteX358" fmla="*/ 279512 w 12305293"/>
              <a:gd name="connsiteY358" fmla="*/ 1038124 h 3722511"/>
              <a:gd name="connsiteX359" fmla="*/ 282446 w 12305293"/>
              <a:gd name="connsiteY359" fmla="*/ 1026687 h 3722511"/>
              <a:gd name="connsiteX360" fmla="*/ 286393 w 12305293"/>
              <a:gd name="connsiteY360" fmla="*/ 1011302 h 3722511"/>
              <a:gd name="connsiteX361" fmla="*/ 283918 w 12305293"/>
              <a:gd name="connsiteY361" fmla="*/ 1020948 h 3722511"/>
              <a:gd name="connsiteX362" fmla="*/ 285224 w 12305293"/>
              <a:gd name="connsiteY362" fmla="*/ 1015860 h 3722511"/>
              <a:gd name="connsiteX363" fmla="*/ 286393 w 12305293"/>
              <a:gd name="connsiteY363" fmla="*/ 1011302 h 3722511"/>
              <a:gd name="connsiteX364" fmla="*/ 330494 w 12305293"/>
              <a:gd name="connsiteY364" fmla="*/ 611237 h 3722511"/>
              <a:gd name="connsiteX365" fmla="*/ 330494 w 12305293"/>
              <a:gd name="connsiteY365" fmla="*/ 611238 h 3722511"/>
              <a:gd name="connsiteX366" fmla="*/ 330494 w 12305293"/>
              <a:gd name="connsiteY366" fmla="*/ 611436 h 3722511"/>
              <a:gd name="connsiteX367" fmla="*/ 330499 w 12305293"/>
              <a:gd name="connsiteY367" fmla="*/ 611352 h 3722511"/>
              <a:gd name="connsiteX368" fmla="*/ 330499 w 12305293"/>
              <a:gd name="connsiteY368" fmla="*/ 611249 h 3722511"/>
              <a:gd name="connsiteX369" fmla="*/ 330499 w 12305293"/>
              <a:gd name="connsiteY369" fmla="*/ 611248 h 3722511"/>
              <a:gd name="connsiteX370" fmla="*/ 330502 w 12305293"/>
              <a:gd name="connsiteY370" fmla="*/ 611300 h 3722511"/>
              <a:gd name="connsiteX371" fmla="*/ 330505 w 12305293"/>
              <a:gd name="connsiteY371" fmla="*/ 611248 h 3722511"/>
              <a:gd name="connsiteX372" fmla="*/ 352084 w 12305293"/>
              <a:gd name="connsiteY372" fmla="*/ 976364 h 3722511"/>
              <a:gd name="connsiteX373" fmla="*/ 376781 w 12305293"/>
              <a:gd name="connsiteY373" fmla="*/ 976364 h 3722511"/>
              <a:gd name="connsiteX374" fmla="*/ 389509 w 12305293"/>
              <a:gd name="connsiteY374" fmla="*/ 980730 h 3722511"/>
              <a:gd name="connsiteX375" fmla="*/ 389514 w 12305293"/>
              <a:gd name="connsiteY375" fmla="*/ 980739 h 3722511"/>
              <a:gd name="connsiteX376" fmla="*/ 389523 w 12305293"/>
              <a:gd name="connsiteY376" fmla="*/ 980742 h 3722511"/>
              <a:gd name="connsiteX377" fmla="*/ 395301 w 12305293"/>
              <a:gd name="connsiteY377" fmla="*/ 992251 h 3722511"/>
              <a:gd name="connsiteX378" fmla="*/ 376809 w 12305293"/>
              <a:gd name="connsiteY378" fmla="*/ 1011301 h 3722511"/>
              <a:gd name="connsiteX379" fmla="*/ 375056 w 12305293"/>
              <a:gd name="connsiteY379" fmla="*/ 1011301 h 3722511"/>
              <a:gd name="connsiteX380" fmla="*/ 401934 w 12305293"/>
              <a:gd name="connsiteY380" fmla="*/ 1116657 h 3722511"/>
              <a:gd name="connsiteX381" fmla="*/ 405245 w 12305293"/>
              <a:gd name="connsiteY381" fmla="*/ 1118808 h 3722511"/>
              <a:gd name="connsiteX382" fmla="*/ 435807 w 12305293"/>
              <a:gd name="connsiteY382" fmla="*/ 1189675 h 3722511"/>
              <a:gd name="connsiteX383" fmla="*/ 435807 w 12305293"/>
              <a:gd name="connsiteY383" fmla="*/ 1196152 h 3722511"/>
              <a:gd name="connsiteX384" fmla="*/ 435807 w 12305293"/>
              <a:gd name="connsiteY384" fmla="*/ 1206451 h 3722511"/>
              <a:gd name="connsiteX385" fmla="*/ 442661 w 12305293"/>
              <a:gd name="connsiteY385" fmla="*/ 1216485 h 3722511"/>
              <a:gd name="connsiteX386" fmla="*/ 452008 w 12305293"/>
              <a:gd name="connsiteY386" fmla="*/ 1263232 h 3722511"/>
              <a:gd name="connsiteX387" fmla="*/ 452008 w 12305293"/>
              <a:gd name="connsiteY387" fmla="*/ 1270833 h 3722511"/>
              <a:gd name="connsiteX388" fmla="*/ 452008 w 12305293"/>
              <a:gd name="connsiteY388" fmla="*/ 1283145 h 3722511"/>
              <a:gd name="connsiteX389" fmla="*/ 456130 w 12305293"/>
              <a:gd name="connsiteY389" fmla="*/ 1289231 h 3722511"/>
              <a:gd name="connsiteX390" fmla="*/ 466582 w 12305293"/>
              <a:gd name="connsiteY390" fmla="*/ 1342376 h 3722511"/>
              <a:gd name="connsiteX391" fmla="*/ 466582 w 12305293"/>
              <a:gd name="connsiteY391" fmla="*/ 1342612 h 3722511"/>
              <a:gd name="connsiteX392" fmla="*/ 466587 w 12305293"/>
              <a:gd name="connsiteY392" fmla="*/ 1342642 h 3722511"/>
              <a:gd name="connsiteX393" fmla="*/ 466587 w 12305293"/>
              <a:gd name="connsiteY393" fmla="*/ 1351430 h 3722511"/>
              <a:gd name="connsiteX394" fmla="*/ 466587 w 12305293"/>
              <a:gd name="connsiteY394" fmla="*/ 1363960 h 3722511"/>
              <a:gd name="connsiteX395" fmla="*/ 469767 w 12305293"/>
              <a:gd name="connsiteY395" fmla="*/ 1370080 h 3722511"/>
              <a:gd name="connsiteX396" fmla="*/ 469822 w 12305293"/>
              <a:gd name="connsiteY396" fmla="*/ 1370080 h 3722511"/>
              <a:gd name="connsiteX397" fmla="*/ 469825 w 12305293"/>
              <a:gd name="connsiteY397" fmla="*/ 1370080 h 3722511"/>
              <a:gd name="connsiteX398" fmla="*/ 469822 w 12305293"/>
              <a:gd name="connsiteY398" fmla="*/ 1370065 h 3722511"/>
              <a:gd name="connsiteX399" fmla="*/ 539484 w 12305293"/>
              <a:gd name="connsiteY399" fmla="*/ 1370065 h 3722511"/>
              <a:gd name="connsiteX400" fmla="*/ 539484 w 12305293"/>
              <a:gd name="connsiteY400" fmla="*/ 1370080 h 3722511"/>
              <a:gd name="connsiteX401" fmla="*/ 539486 w 12305293"/>
              <a:gd name="connsiteY401" fmla="*/ 1370080 h 3722511"/>
              <a:gd name="connsiteX402" fmla="*/ 539486 w 12305293"/>
              <a:gd name="connsiteY402" fmla="*/ 1681233 h 3722511"/>
              <a:gd name="connsiteX403" fmla="*/ 588084 w 12305293"/>
              <a:gd name="connsiteY403" fmla="*/ 1681233 h 3722511"/>
              <a:gd name="connsiteX404" fmla="*/ 588085 w 12305293"/>
              <a:gd name="connsiteY404" fmla="*/ 1681233 h 3722511"/>
              <a:gd name="connsiteX405" fmla="*/ 588091 w 12305293"/>
              <a:gd name="connsiteY405" fmla="*/ 1681233 h 3722511"/>
              <a:gd name="connsiteX406" fmla="*/ 588091 w 12305293"/>
              <a:gd name="connsiteY406" fmla="*/ 3602100 h 3722511"/>
              <a:gd name="connsiteX407" fmla="*/ 662607 w 12305293"/>
              <a:gd name="connsiteY407" fmla="*/ 3602100 h 3722511"/>
              <a:gd name="connsiteX408" fmla="*/ 662607 w 12305293"/>
              <a:gd name="connsiteY408" fmla="*/ 3602126 h 3722511"/>
              <a:gd name="connsiteX409" fmla="*/ 662610 w 12305293"/>
              <a:gd name="connsiteY409" fmla="*/ 3602126 h 3722511"/>
              <a:gd name="connsiteX410" fmla="*/ 662610 w 12305293"/>
              <a:gd name="connsiteY410" fmla="*/ 3722511 h 3722511"/>
              <a:gd name="connsiteX411" fmla="*/ 0 w 12305293"/>
              <a:gd name="connsiteY411" fmla="*/ 3722511 h 3722511"/>
              <a:gd name="connsiteX412" fmla="*/ 0 w 12305293"/>
              <a:gd name="connsiteY412" fmla="*/ 3602100 h 3722511"/>
              <a:gd name="connsiteX413" fmla="*/ 1 w 12305293"/>
              <a:gd name="connsiteY413" fmla="*/ 3602100 h 3722511"/>
              <a:gd name="connsiteX414" fmla="*/ 76146 w 12305293"/>
              <a:gd name="connsiteY414" fmla="*/ 3602100 h 3722511"/>
              <a:gd name="connsiteX415" fmla="*/ 76146 w 12305293"/>
              <a:gd name="connsiteY415" fmla="*/ 3552888 h 3722511"/>
              <a:gd name="connsiteX416" fmla="*/ 76142 w 12305293"/>
              <a:gd name="connsiteY416" fmla="*/ 3552888 h 3722511"/>
              <a:gd name="connsiteX417" fmla="*/ 76142 w 12305293"/>
              <a:gd name="connsiteY417" fmla="*/ 3508438 h 3722511"/>
              <a:gd name="connsiteX418" fmla="*/ 76146 w 12305293"/>
              <a:gd name="connsiteY418" fmla="*/ 3508438 h 3722511"/>
              <a:gd name="connsiteX419" fmla="*/ 76146 w 12305293"/>
              <a:gd name="connsiteY419" fmla="*/ 3443350 h 3722511"/>
              <a:gd name="connsiteX420" fmla="*/ 76142 w 12305293"/>
              <a:gd name="connsiteY420" fmla="*/ 3443350 h 3722511"/>
              <a:gd name="connsiteX421" fmla="*/ 76142 w 12305293"/>
              <a:gd name="connsiteY421" fmla="*/ 3397312 h 3722511"/>
              <a:gd name="connsiteX422" fmla="*/ 76146 w 12305293"/>
              <a:gd name="connsiteY422" fmla="*/ 3397312 h 3722511"/>
              <a:gd name="connsiteX423" fmla="*/ 76146 w 12305293"/>
              <a:gd name="connsiteY423" fmla="*/ 3333812 h 3722511"/>
              <a:gd name="connsiteX424" fmla="*/ 76144 w 12305293"/>
              <a:gd name="connsiteY424" fmla="*/ 3333812 h 3722511"/>
              <a:gd name="connsiteX425" fmla="*/ 76144 w 12305293"/>
              <a:gd name="connsiteY425" fmla="*/ 3284599 h 3722511"/>
              <a:gd name="connsiteX426" fmla="*/ 76146 w 12305293"/>
              <a:gd name="connsiteY426" fmla="*/ 3284599 h 3722511"/>
              <a:gd name="connsiteX427" fmla="*/ 76146 w 12305293"/>
              <a:gd name="connsiteY427" fmla="*/ 3221099 h 3722511"/>
              <a:gd name="connsiteX428" fmla="*/ 76144 w 12305293"/>
              <a:gd name="connsiteY428" fmla="*/ 3221099 h 3722511"/>
              <a:gd name="connsiteX429" fmla="*/ 76144 w 12305293"/>
              <a:gd name="connsiteY429" fmla="*/ 3175061 h 3722511"/>
              <a:gd name="connsiteX430" fmla="*/ 76146 w 12305293"/>
              <a:gd name="connsiteY430" fmla="*/ 3175061 h 3722511"/>
              <a:gd name="connsiteX431" fmla="*/ 76146 w 12305293"/>
              <a:gd name="connsiteY431" fmla="*/ 3111561 h 3722511"/>
              <a:gd name="connsiteX432" fmla="*/ 76144 w 12305293"/>
              <a:gd name="connsiteY432" fmla="*/ 3111561 h 3722511"/>
              <a:gd name="connsiteX433" fmla="*/ 76144 w 12305293"/>
              <a:gd name="connsiteY433" fmla="*/ 3065523 h 3722511"/>
              <a:gd name="connsiteX434" fmla="*/ 76146 w 12305293"/>
              <a:gd name="connsiteY434" fmla="*/ 3065523 h 3722511"/>
              <a:gd name="connsiteX435" fmla="*/ 76146 w 12305293"/>
              <a:gd name="connsiteY435" fmla="*/ 3002023 h 3722511"/>
              <a:gd name="connsiteX436" fmla="*/ 76144 w 12305293"/>
              <a:gd name="connsiteY436" fmla="*/ 3002023 h 3722511"/>
              <a:gd name="connsiteX437" fmla="*/ 76144 w 12305293"/>
              <a:gd name="connsiteY437" fmla="*/ 2955985 h 3722511"/>
              <a:gd name="connsiteX438" fmla="*/ 76146 w 12305293"/>
              <a:gd name="connsiteY438" fmla="*/ 2955985 h 3722511"/>
              <a:gd name="connsiteX439" fmla="*/ 76146 w 12305293"/>
              <a:gd name="connsiteY439" fmla="*/ 2892485 h 3722511"/>
              <a:gd name="connsiteX440" fmla="*/ 76144 w 12305293"/>
              <a:gd name="connsiteY440" fmla="*/ 2892485 h 3722511"/>
              <a:gd name="connsiteX441" fmla="*/ 76144 w 12305293"/>
              <a:gd name="connsiteY441" fmla="*/ 2846447 h 3722511"/>
              <a:gd name="connsiteX442" fmla="*/ 76146 w 12305293"/>
              <a:gd name="connsiteY442" fmla="*/ 2846447 h 3722511"/>
              <a:gd name="connsiteX443" fmla="*/ 76146 w 12305293"/>
              <a:gd name="connsiteY443" fmla="*/ 2781359 h 3722511"/>
              <a:gd name="connsiteX444" fmla="*/ 76144 w 12305293"/>
              <a:gd name="connsiteY444" fmla="*/ 2781359 h 3722511"/>
              <a:gd name="connsiteX445" fmla="*/ 76144 w 12305293"/>
              <a:gd name="connsiteY445" fmla="*/ 2733734 h 3722511"/>
              <a:gd name="connsiteX446" fmla="*/ 76146 w 12305293"/>
              <a:gd name="connsiteY446" fmla="*/ 2733734 h 3722511"/>
              <a:gd name="connsiteX447" fmla="*/ 76146 w 12305293"/>
              <a:gd name="connsiteY447" fmla="*/ 2668646 h 3722511"/>
              <a:gd name="connsiteX448" fmla="*/ 76144 w 12305293"/>
              <a:gd name="connsiteY448" fmla="*/ 2668646 h 3722511"/>
              <a:gd name="connsiteX449" fmla="*/ 76144 w 12305293"/>
              <a:gd name="connsiteY449" fmla="*/ 2624196 h 3722511"/>
              <a:gd name="connsiteX450" fmla="*/ 76146 w 12305293"/>
              <a:gd name="connsiteY450" fmla="*/ 2624196 h 3722511"/>
              <a:gd name="connsiteX451" fmla="*/ 76146 w 12305293"/>
              <a:gd name="connsiteY451" fmla="*/ 2559109 h 3722511"/>
              <a:gd name="connsiteX452" fmla="*/ 76145 w 12305293"/>
              <a:gd name="connsiteY452" fmla="*/ 2559109 h 3722511"/>
              <a:gd name="connsiteX453" fmla="*/ 76145 w 12305293"/>
              <a:gd name="connsiteY453" fmla="*/ 2513071 h 3722511"/>
              <a:gd name="connsiteX454" fmla="*/ 76146 w 12305293"/>
              <a:gd name="connsiteY454" fmla="*/ 2513071 h 3722511"/>
              <a:gd name="connsiteX455" fmla="*/ 76146 w 12305293"/>
              <a:gd name="connsiteY455" fmla="*/ 2449571 h 3722511"/>
              <a:gd name="connsiteX456" fmla="*/ 76145 w 12305293"/>
              <a:gd name="connsiteY456" fmla="*/ 2449571 h 3722511"/>
              <a:gd name="connsiteX457" fmla="*/ 76145 w 12305293"/>
              <a:gd name="connsiteY457" fmla="*/ 2403533 h 3722511"/>
              <a:gd name="connsiteX458" fmla="*/ 76146 w 12305293"/>
              <a:gd name="connsiteY458" fmla="*/ 2403533 h 3722511"/>
              <a:gd name="connsiteX459" fmla="*/ 76146 w 12305293"/>
              <a:gd name="connsiteY459" fmla="*/ 2340033 h 3722511"/>
              <a:gd name="connsiteX460" fmla="*/ 76145 w 12305293"/>
              <a:gd name="connsiteY460" fmla="*/ 2340033 h 3722511"/>
              <a:gd name="connsiteX461" fmla="*/ 76145 w 12305293"/>
              <a:gd name="connsiteY461" fmla="*/ 2290820 h 3722511"/>
              <a:gd name="connsiteX462" fmla="*/ 76146 w 12305293"/>
              <a:gd name="connsiteY462" fmla="*/ 2290820 h 3722511"/>
              <a:gd name="connsiteX463" fmla="*/ 76146 w 12305293"/>
              <a:gd name="connsiteY463" fmla="*/ 2230495 h 3722511"/>
              <a:gd name="connsiteX464" fmla="*/ 76145 w 12305293"/>
              <a:gd name="connsiteY464" fmla="*/ 2230495 h 3722511"/>
              <a:gd name="connsiteX465" fmla="*/ 76145 w 12305293"/>
              <a:gd name="connsiteY465" fmla="*/ 2181282 h 3722511"/>
              <a:gd name="connsiteX466" fmla="*/ 76146 w 12305293"/>
              <a:gd name="connsiteY466" fmla="*/ 2181282 h 3722511"/>
              <a:gd name="connsiteX467" fmla="*/ 76146 w 12305293"/>
              <a:gd name="connsiteY467" fmla="*/ 2117782 h 3722511"/>
              <a:gd name="connsiteX468" fmla="*/ 76145 w 12305293"/>
              <a:gd name="connsiteY468" fmla="*/ 2117782 h 3722511"/>
              <a:gd name="connsiteX469" fmla="*/ 76145 w 12305293"/>
              <a:gd name="connsiteY469" fmla="*/ 2071744 h 3722511"/>
              <a:gd name="connsiteX470" fmla="*/ 76146 w 12305293"/>
              <a:gd name="connsiteY470" fmla="*/ 2071744 h 3722511"/>
              <a:gd name="connsiteX471" fmla="*/ 76146 w 12305293"/>
              <a:gd name="connsiteY471" fmla="*/ 2008244 h 3722511"/>
              <a:gd name="connsiteX472" fmla="*/ 76145 w 12305293"/>
              <a:gd name="connsiteY472" fmla="*/ 2008244 h 3722511"/>
              <a:gd name="connsiteX473" fmla="*/ 76145 w 12305293"/>
              <a:gd name="connsiteY473" fmla="*/ 1962206 h 3722511"/>
              <a:gd name="connsiteX474" fmla="*/ 76146 w 12305293"/>
              <a:gd name="connsiteY474" fmla="*/ 1962206 h 3722511"/>
              <a:gd name="connsiteX475" fmla="*/ 76146 w 12305293"/>
              <a:gd name="connsiteY475" fmla="*/ 1897118 h 3722511"/>
              <a:gd name="connsiteX476" fmla="*/ 76146 w 12305293"/>
              <a:gd name="connsiteY476" fmla="*/ 1852668 h 3722511"/>
              <a:gd name="connsiteX477" fmla="*/ 76146 w 12305293"/>
              <a:gd name="connsiteY477" fmla="*/ 1787580 h 3722511"/>
              <a:gd name="connsiteX478" fmla="*/ 76146 w 12305293"/>
              <a:gd name="connsiteY478" fmla="*/ 1739955 h 3722511"/>
              <a:gd name="connsiteX479" fmla="*/ 76146 w 12305293"/>
              <a:gd name="connsiteY479" fmla="*/ 1681217 h 3722511"/>
              <a:gd name="connsiteX480" fmla="*/ 124756 w 12305293"/>
              <a:gd name="connsiteY480" fmla="*/ 1681217 h 3722511"/>
              <a:gd name="connsiteX481" fmla="*/ 124756 w 12305293"/>
              <a:gd name="connsiteY481" fmla="*/ 1681216 h 3722511"/>
              <a:gd name="connsiteX482" fmla="*/ 124744 w 12305293"/>
              <a:gd name="connsiteY482" fmla="*/ 1681216 h 3722511"/>
              <a:gd name="connsiteX483" fmla="*/ 124744 w 12305293"/>
              <a:gd name="connsiteY483" fmla="*/ 1370065 h 3722511"/>
              <a:gd name="connsiteX484" fmla="*/ 192785 w 12305293"/>
              <a:gd name="connsiteY484" fmla="*/ 1370065 h 3722511"/>
              <a:gd name="connsiteX485" fmla="*/ 192780 w 12305293"/>
              <a:gd name="connsiteY485" fmla="*/ 1370080 h 3722511"/>
              <a:gd name="connsiteX486" fmla="*/ 192790 w 12305293"/>
              <a:gd name="connsiteY486" fmla="*/ 1370080 h 3722511"/>
              <a:gd name="connsiteX487" fmla="*/ 192801 w 12305293"/>
              <a:gd name="connsiteY487" fmla="*/ 1370080 h 3722511"/>
              <a:gd name="connsiteX488" fmla="*/ 192801 w 12305293"/>
              <a:gd name="connsiteY488" fmla="*/ 1363694 h 3722511"/>
              <a:gd name="connsiteX489" fmla="*/ 192789 w 12305293"/>
              <a:gd name="connsiteY489" fmla="*/ 1363716 h 3722511"/>
              <a:gd name="connsiteX490" fmla="*/ 192789 w 12305293"/>
              <a:gd name="connsiteY490" fmla="*/ 1342362 h 3722511"/>
              <a:gd name="connsiteX491" fmla="*/ 192789 w 12305293"/>
              <a:gd name="connsiteY491" fmla="*/ 1339312 h 3722511"/>
              <a:gd name="connsiteX492" fmla="*/ 196212 w 12305293"/>
              <a:gd name="connsiteY492" fmla="*/ 1325964 h 3722511"/>
              <a:gd name="connsiteX493" fmla="*/ 196251 w 12305293"/>
              <a:gd name="connsiteY493" fmla="*/ 1325773 h 3722511"/>
              <a:gd name="connsiteX494" fmla="*/ 203690 w 12305293"/>
              <a:gd name="connsiteY494" fmla="*/ 1289391 h 3722511"/>
              <a:gd name="connsiteX495" fmla="*/ 206597 w 12305293"/>
              <a:gd name="connsiteY495" fmla="*/ 1285198 h 3722511"/>
              <a:gd name="connsiteX496" fmla="*/ 206710 w 12305293"/>
              <a:gd name="connsiteY496" fmla="*/ 1285035 h 3722511"/>
              <a:gd name="connsiteX497" fmla="*/ 208437 w 12305293"/>
              <a:gd name="connsiteY497" fmla="*/ 1278302 h 3722511"/>
              <a:gd name="connsiteX498" fmla="*/ 208990 w 12305293"/>
              <a:gd name="connsiteY498" fmla="*/ 1277578 h 3722511"/>
              <a:gd name="connsiteX499" fmla="*/ 208990 w 12305293"/>
              <a:gd name="connsiteY499" fmla="*/ 1264243 h 3722511"/>
              <a:gd name="connsiteX500" fmla="*/ 208990 w 12305293"/>
              <a:gd name="connsiteY500" fmla="*/ 1261176 h 3722511"/>
              <a:gd name="connsiteX501" fmla="*/ 210402 w 12305293"/>
              <a:gd name="connsiteY501" fmla="*/ 1256543 h 3722511"/>
              <a:gd name="connsiteX502" fmla="*/ 218787 w 12305293"/>
              <a:gd name="connsiteY502" fmla="*/ 1216485 h 3722511"/>
              <a:gd name="connsiteX503" fmla="*/ 225541 w 12305293"/>
              <a:gd name="connsiteY503" fmla="*/ 1206871 h 3722511"/>
              <a:gd name="connsiteX504" fmla="*/ 227683 w 12305293"/>
              <a:gd name="connsiteY504" fmla="*/ 1199841 h 3722511"/>
              <a:gd name="connsiteX505" fmla="*/ 228431 w 12305293"/>
              <a:gd name="connsiteY505" fmla="*/ 1199145 h 3722511"/>
              <a:gd name="connsiteX506" fmla="*/ 228431 w 12305293"/>
              <a:gd name="connsiteY506" fmla="*/ 1199045 h 3722511"/>
              <a:gd name="connsiteX507" fmla="*/ 228431 w 12305293"/>
              <a:gd name="connsiteY507" fmla="*/ 1190942 h 3722511"/>
              <a:gd name="connsiteX508" fmla="*/ 228431 w 12305293"/>
              <a:gd name="connsiteY508" fmla="*/ 1187856 h 3722511"/>
              <a:gd name="connsiteX509" fmla="*/ 228738 w 12305293"/>
              <a:gd name="connsiteY509" fmla="*/ 1186508 h 3722511"/>
              <a:gd name="connsiteX510" fmla="*/ 235143 w 12305293"/>
              <a:gd name="connsiteY510" fmla="*/ 1157623 h 3722511"/>
              <a:gd name="connsiteX511" fmla="*/ 236566 w 12305293"/>
              <a:gd name="connsiteY511" fmla="*/ 1150812 h 3722511"/>
              <a:gd name="connsiteX512" fmla="*/ 236694 w 12305293"/>
              <a:gd name="connsiteY512" fmla="*/ 1150628 h 3722511"/>
              <a:gd name="connsiteX513" fmla="*/ 237335 w 12305293"/>
              <a:gd name="connsiteY513" fmla="*/ 1147740 h 3722511"/>
              <a:gd name="connsiteX514" fmla="*/ 246086 w 12305293"/>
              <a:gd name="connsiteY514" fmla="*/ 1136998 h 3722511"/>
              <a:gd name="connsiteX515" fmla="*/ 258619 w 12305293"/>
              <a:gd name="connsiteY515" fmla="*/ 1118808 h 3722511"/>
              <a:gd name="connsiteX516" fmla="*/ 261655 w 12305293"/>
              <a:gd name="connsiteY516" fmla="*/ 1116779 h 3722511"/>
              <a:gd name="connsiteX517" fmla="*/ 262414 w 12305293"/>
              <a:gd name="connsiteY517" fmla="*/ 1116271 h 3722511"/>
              <a:gd name="connsiteX518" fmla="*/ 264989 w 12305293"/>
              <a:gd name="connsiteY518" fmla="*/ 1106181 h 3722511"/>
              <a:gd name="connsiteX519" fmla="*/ 268975 w 12305293"/>
              <a:gd name="connsiteY519" fmla="*/ 1088165 h 3722511"/>
              <a:gd name="connsiteX520" fmla="*/ 277915 w 12305293"/>
              <a:gd name="connsiteY520" fmla="*/ 1047756 h 3722511"/>
              <a:gd name="connsiteX521" fmla="*/ 287193 w 12305293"/>
              <a:gd name="connsiteY521" fmla="*/ 1011289 h 3722511"/>
              <a:gd name="connsiteX522" fmla="*/ 287402 w 12305293"/>
              <a:gd name="connsiteY522" fmla="*/ 1011289 h 3722511"/>
              <a:gd name="connsiteX523" fmla="*/ 287395 w 12305293"/>
              <a:gd name="connsiteY523" fmla="*/ 1011286 h 3722511"/>
              <a:gd name="connsiteX524" fmla="*/ 287383 w 12305293"/>
              <a:gd name="connsiteY524" fmla="*/ 1011286 h 3722511"/>
              <a:gd name="connsiteX525" fmla="*/ 277244 w 12305293"/>
              <a:gd name="connsiteY525" fmla="*/ 1006929 h 3722511"/>
              <a:gd name="connsiteX526" fmla="*/ 273562 w 12305293"/>
              <a:gd name="connsiteY526" fmla="*/ 1005348 h 3722511"/>
              <a:gd name="connsiteX527" fmla="*/ 273560 w 12305293"/>
              <a:gd name="connsiteY527" fmla="*/ 1005345 h 3722511"/>
              <a:gd name="connsiteX528" fmla="*/ 273531 w 12305293"/>
              <a:gd name="connsiteY528" fmla="*/ 1005333 h 3722511"/>
              <a:gd name="connsiteX529" fmla="*/ 268914 w 12305293"/>
              <a:gd name="connsiteY529" fmla="*/ 992236 h 3722511"/>
              <a:gd name="connsiteX530" fmla="*/ 287383 w 12305293"/>
              <a:gd name="connsiteY530" fmla="*/ 976361 h 3722511"/>
              <a:gd name="connsiteX531" fmla="*/ 305563 w 12305293"/>
              <a:gd name="connsiteY531" fmla="*/ 976361 h 3722511"/>
              <a:gd name="connsiteX532" fmla="*/ 308926 w 12305293"/>
              <a:gd name="connsiteY532" fmla="*/ 976361 h 3722511"/>
              <a:gd name="connsiteX533" fmla="*/ 330011 w 12305293"/>
              <a:gd name="connsiteY533" fmla="*/ 619598 h 3722511"/>
              <a:gd name="connsiteX534" fmla="*/ 4187771 w 12305293"/>
              <a:gd name="connsiteY534" fmla="*/ 223881 h 3722511"/>
              <a:gd name="connsiteX535" fmla="*/ 4200732 w 12305293"/>
              <a:gd name="connsiteY535" fmla="*/ 233031 h 3722511"/>
              <a:gd name="connsiteX536" fmla="*/ 4200732 w 12305293"/>
              <a:gd name="connsiteY536" fmla="*/ 315956 h 3722511"/>
              <a:gd name="connsiteX537" fmla="*/ 4225032 w 12305293"/>
              <a:gd name="connsiteY537" fmla="*/ 315956 h 3722511"/>
              <a:gd name="connsiteX538" fmla="*/ 4225032 w 12305293"/>
              <a:gd name="connsiteY538" fmla="*/ 333419 h 3722511"/>
              <a:gd name="connsiteX539" fmla="*/ 4200732 w 12305293"/>
              <a:gd name="connsiteY539" fmla="*/ 333419 h 3722511"/>
              <a:gd name="connsiteX540" fmla="*/ 4200732 w 12305293"/>
              <a:gd name="connsiteY540" fmla="*/ 408592 h 3722511"/>
              <a:gd name="connsiteX541" fmla="*/ 4200732 w 12305293"/>
              <a:gd name="connsiteY541" fmla="*/ 488994 h 3722511"/>
              <a:gd name="connsiteX542" fmla="*/ 4225032 w 12305293"/>
              <a:gd name="connsiteY542" fmla="*/ 488994 h 3722511"/>
              <a:gd name="connsiteX543" fmla="*/ 4225032 w 12305293"/>
              <a:gd name="connsiteY543" fmla="*/ 511219 h 3722511"/>
              <a:gd name="connsiteX544" fmla="*/ 4200732 w 12305293"/>
              <a:gd name="connsiteY544" fmla="*/ 511219 h 3722511"/>
              <a:gd name="connsiteX545" fmla="*/ 4200732 w 12305293"/>
              <a:gd name="connsiteY545" fmla="*/ 566447 h 3722511"/>
              <a:gd name="connsiteX546" fmla="*/ 4200732 w 12305293"/>
              <a:gd name="connsiteY546" fmla="*/ 663620 h 3722511"/>
              <a:gd name="connsiteX547" fmla="*/ 4225032 w 12305293"/>
              <a:gd name="connsiteY547" fmla="*/ 663620 h 3722511"/>
              <a:gd name="connsiteX548" fmla="*/ 4225032 w 12305293"/>
              <a:gd name="connsiteY548" fmla="*/ 684258 h 3722511"/>
              <a:gd name="connsiteX549" fmla="*/ 4200732 w 12305293"/>
              <a:gd name="connsiteY549" fmla="*/ 684258 h 3722511"/>
              <a:gd name="connsiteX550" fmla="*/ 4200732 w 12305293"/>
              <a:gd name="connsiteY550" fmla="*/ 707539 h 3722511"/>
              <a:gd name="connsiteX551" fmla="*/ 4200732 w 12305293"/>
              <a:gd name="connsiteY551" fmla="*/ 832808 h 3722511"/>
              <a:gd name="connsiteX552" fmla="*/ 4200732 w 12305293"/>
              <a:gd name="connsiteY552" fmla="*/ 836658 h 3722511"/>
              <a:gd name="connsiteX553" fmla="*/ 4225032 w 12305293"/>
              <a:gd name="connsiteY553" fmla="*/ 836658 h 3722511"/>
              <a:gd name="connsiteX554" fmla="*/ 4225032 w 12305293"/>
              <a:gd name="connsiteY554" fmla="*/ 857296 h 3722511"/>
              <a:gd name="connsiteX555" fmla="*/ 4200732 w 12305293"/>
              <a:gd name="connsiteY555" fmla="*/ 857296 h 3722511"/>
              <a:gd name="connsiteX556" fmla="*/ 4200732 w 12305293"/>
              <a:gd name="connsiteY556" fmla="*/ 976847 h 3722511"/>
              <a:gd name="connsiteX557" fmla="*/ 4200732 w 12305293"/>
              <a:gd name="connsiteY557" fmla="*/ 992233 h 3722511"/>
              <a:gd name="connsiteX558" fmla="*/ 4284975 w 12305293"/>
              <a:gd name="connsiteY558" fmla="*/ 992233 h 3722511"/>
              <a:gd name="connsiteX559" fmla="*/ 4284975 w 12305293"/>
              <a:gd name="connsiteY559" fmla="*/ 1041446 h 3722511"/>
              <a:gd name="connsiteX560" fmla="*/ 4239126 w 12305293"/>
              <a:gd name="connsiteY560" fmla="*/ 1041446 h 3722511"/>
              <a:gd name="connsiteX561" fmla="*/ 4369219 w 12305293"/>
              <a:gd name="connsiteY561" fmla="*/ 1230359 h 3722511"/>
              <a:gd name="connsiteX562" fmla="*/ 4424303 w 12305293"/>
              <a:gd name="connsiteY562" fmla="*/ 1230359 h 3722511"/>
              <a:gd name="connsiteX563" fmla="*/ 4424303 w 12305293"/>
              <a:gd name="connsiteY563" fmla="*/ 1257346 h 3722511"/>
              <a:gd name="connsiteX564" fmla="*/ 4424303 w 12305293"/>
              <a:gd name="connsiteY564" fmla="*/ 1257347 h 3722511"/>
              <a:gd name="connsiteX565" fmla="*/ 4424303 w 12305293"/>
              <a:gd name="connsiteY565" fmla="*/ 1349421 h 3722511"/>
              <a:gd name="connsiteX566" fmla="*/ 4492347 w 12305293"/>
              <a:gd name="connsiteY566" fmla="*/ 1349421 h 3722511"/>
              <a:gd name="connsiteX567" fmla="*/ 4492347 w 12305293"/>
              <a:gd name="connsiteY567" fmla="*/ 1376409 h 3722511"/>
              <a:gd name="connsiteX568" fmla="*/ 4492347 w 12305293"/>
              <a:gd name="connsiteY568" fmla="*/ 1431972 h 3722511"/>
              <a:gd name="connsiteX569" fmla="*/ 4492347 w 12305293"/>
              <a:gd name="connsiteY569" fmla="*/ 1446260 h 3722511"/>
              <a:gd name="connsiteX570" fmla="*/ 4492347 w 12305293"/>
              <a:gd name="connsiteY570" fmla="*/ 1516109 h 3722511"/>
              <a:gd name="connsiteX571" fmla="*/ 4492347 w 12305293"/>
              <a:gd name="connsiteY571" fmla="*/ 1531984 h 3722511"/>
              <a:gd name="connsiteX572" fmla="*/ 4492347 w 12305293"/>
              <a:gd name="connsiteY572" fmla="*/ 1601834 h 3722511"/>
              <a:gd name="connsiteX573" fmla="*/ 4492347 w 12305293"/>
              <a:gd name="connsiteY573" fmla="*/ 1617709 h 3722511"/>
              <a:gd name="connsiteX574" fmla="*/ 4492347 w 12305293"/>
              <a:gd name="connsiteY574" fmla="*/ 1687560 h 3722511"/>
              <a:gd name="connsiteX575" fmla="*/ 4492347 w 12305293"/>
              <a:gd name="connsiteY575" fmla="*/ 1703435 h 3722511"/>
              <a:gd name="connsiteX576" fmla="*/ 4492347 w 12305293"/>
              <a:gd name="connsiteY576" fmla="*/ 1773285 h 3722511"/>
              <a:gd name="connsiteX577" fmla="*/ 4492347 w 12305293"/>
              <a:gd name="connsiteY577" fmla="*/ 1787573 h 3722511"/>
              <a:gd name="connsiteX578" fmla="*/ 4492347 w 12305293"/>
              <a:gd name="connsiteY578" fmla="*/ 1857423 h 3722511"/>
              <a:gd name="connsiteX579" fmla="*/ 4492347 w 12305293"/>
              <a:gd name="connsiteY579" fmla="*/ 1873298 h 3722511"/>
              <a:gd name="connsiteX580" fmla="*/ 4492347 w 12305293"/>
              <a:gd name="connsiteY580" fmla="*/ 1943148 h 3722511"/>
              <a:gd name="connsiteX581" fmla="*/ 4492347 w 12305293"/>
              <a:gd name="connsiteY581" fmla="*/ 1959023 h 3722511"/>
              <a:gd name="connsiteX582" fmla="*/ 4492347 w 12305293"/>
              <a:gd name="connsiteY582" fmla="*/ 2028873 h 3722511"/>
              <a:gd name="connsiteX583" fmla="*/ 4492347 w 12305293"/>
              <a:gd name="connsiteY583" fmla="*/ 2044748 h 3722511"/>
              <a:gd name="connsiteX584" fmla="*/ 4492347 w 12305293"/>
              <a:gd name="connsiteY584" fmla="*/ 2114598 h 3722511"/>
              <a:gd name="connsiteX585" fmla="*/ 4492347 w 12305293"/>
              <a:gd name="connsiteY585" fmla="*/ 2128886 h 3722511"/>
              <a:gd name="connsiteX586" fmla="*/ 4492347 w 12305293"/>
              <a:gd name="connsiteY586" fmla="*/ 2200323 h 3722511"/>
              <a:gd name="connsiteX587" fmla="*/ 4492347 w 12305293"/>
              <a:gd name="connsiteY587" fmla="*/ 2214611 h 3722511"/>
              <a:gd name="connsiteX588" fmla="*/ 4492347 w 12305293"/>
              <a:gd name="connsiteY588" fmla="*/ 2284461 h 3722511"/>
              <a:gd name="connsiteX589" fmla="*/ 4492347 w 12305293"/>
              <a:gd name="connsiteY589" fmla="*/ 2300336 h 3722511"/>
              <a:gd name="connsiteX590" fmla="*/ 4492347 w 12305293"/>
              <a:gd name="connsiteY590" fmla="*/ 2370186 h 3722511"/>
              <a:gd name="connsiteX591" fmla="*/ 4492347 w 12305293"/>
              <a:gd name="connsiteY591" fmla="*/ 2386061 h 3722511"/>
              <a:gd name="connsiteX592" fmla="*/ 4492347 w 12305293"/>
              <a:gd name="connsiteY592" fmla="*/ 2455912 h 3722511"/>
              <a:gd name="connsiteX593" fmla="*/ 4492347 w 12305293"/>
              <a:gd name="connsiteY593" fmla="*/ 2471787 h 3722511"/>
              <a:gd name="connsiteX594" fmla="*/ 4492347 w 12305293"/>
              <a:gd name="connsiteY594" fmla="*/ 2541637 h 3722511"/>
              <a:gd name="connsiteX595" fmla="*/ 4492347 w 12305293"/>
              <a:gd name="connsiteY595" fmla="*/ 2555925 h 3722511"/>
              <a:gd name="connsiteX596" fmla="*/ 4492347 w 12305293"/>
              <a:gd name="connsiteY596" fmla="*/ 2625775 h 3722511"/>
              <a:gd name="connsiteX597" fmla="*/ 4492347 w 12305293"/>
              <a:gd name="connsiteY597" fmla="*/ 2641650 h 3722511"/>
              <a:gd name="connsiteX598" fmla="*/ 4492347 w 12305293"/>
              <a:gd name="connsiteY598" fmla="*/ 2711500 h 3722511"/>
              <a:gd name="connsiteX599" fmla="*/ 4492347 w 12305293"/>
              <a:gd name="connsiteY599" fmla="*/ 2727375 h 3722511"/>
              <a:gd name="connsiteX600" fmla="*/ 4492347 w 12305293"/>
              <a:gd name="connsiteY600" fmla="*/ 2797225 h 3722511"/>
              <a:gd name="connsiteX601" fmla="*/ 4492347 w 12305293"/>
              <a:gd name="connsiteY601" fmla="*/ 2813100 h 3722511"/>
              <a:gd name="connsiteX602" fmla="*/ 4492347 w 12305293"/>
              <a:gd name="connsiteY602" fmla="*/ 2882950 h 3722511"/>
              <a:gd name="connsiteX603" fmla="*/ 4492347 w 12305293"/>
              <a:gd name="connsiteY603" fmla="*/ 2897238 h 3722511"/>
              <a:gd name="connsiteX604" fmla="*/ 4492347 w 12305293"/>
              <a:gd name="connsiteY604" fmla="*/ 2968675 h 3722511"/>
              <a:gd name="connsiteX605" fmla="*/ 4492347 w 12305293"/>
              <a:gd name="connsiteY605" fmla="*/ 2982963 h 3722511"/>
              <a:gd name="connsiteX606" fmla="*/ 4492347 w 12305293"/>
              <a:gd name="connsiteY606" fmla="*/ 3052813 h 3722511"/>
              <a:gd name="connsiteX607" fmla="*/ 4492347 w 12305293"/>
              <a:gd name="connsiteY607" fmla="*/ 3068688 h 3722511"/>
              <a:gd name="connsiteX608" fmla="*/ 4492347 w 12305293"/>
              <a:gd name="connsiteY608" fmla="*/ 3138538 h 3722511"/>
              <a:gd name="connsiteX609" fmla="*/ 4492347 w 12305293"/>
              <a:gd name="connsiteY609" fmla="*/ 3154413 h 3722511"/>
              <a:gd name="connsiteX610" fmla="*/ 4492347 w 12305293"/>
              <a:gd name="connsiteY610" fmla="*/ 3224264 h 3722511"/>
              <a:gd name="connsiteX611" fmla="*/ 4492347 w 12305293"/>
              <a:gd name="connsiteY611" fmla="*/ 3240139 h 3722511"/>
              <a:gd name="connsiteX612" fmla="*/ 4492347 w 12305293"/>
              <a:gd name="connsiteY612" fmla="*/ 3309989 h 3722511"/>
              <a:gd name="connsiteX613" fmla="*/ 4492347 w 12305293"/>
              <a:gd name="connsiteY613" fmla="*/ 3324277 h 3722511"/>
              <a:gd name="connsiteX614" fmla="*/ 4492347 w 12305293"/>
              <a:gd name="connsiteY614" fmla="*/ 3395714 h 3722511"/>
              <a:gd name="connsiteX615" fmla="*/ 4492347 w 12305293"/>
              <a:gd name="connsiteY615" fmla="*/ 3410002 h 3722511"/>
              <a:gd name="connsiteX616" fmla="*/ 4492347 w 12305293"/>
              <a:gd name="connsiteY616" fmla="*/ 3479852 h 3722511"/>
              <a:gd name="connsiteX617" fmla="*/ 4492347 w 12305293"/>
              <a:gd name="connsiteY617" fmla="*/ 3495727 h 3722511"/>
              <a:gd name="connsiteX618" fmla="*/ 4492347 w 12305293"/>
              <a:gd name="connsiteY618" fmla="*/ 3565577 h 3722511"/>
              <a:gd name="connsiteX619" fmla="*/ 4492347 w 12305293"/>
              <a:gd name="connsiteY619" fmla="*/ 3581452 h 3722511"/>
              <a:gd name="connsiteX620" fmla="*/ 4492347 w 12305293"/>
              <a:gd name="connsiteY620" fmla="*/ 3629279 h 3722511"/>
              <a:gd name="connsiteX621" fmla="*/ 4492419 w 12305293"/>
              <a:gd name="connsiteY621" fmla="*/ 3629142 h 3722511"/>
              <a:gd name="connsiteX622" fmla="*/ 4492419 w 12305293"/>
              <a:gd name="connsiteY622" fmla="*/ 3624328 h 3722511"/>
              <a:gd name="connsiteX623" fmla="*/ 4573424 w 12305293"/>
              <a:gd name="connsiteY623" fmla="*/ 3476690 h 3722511"/>
              <a:gd name="connsiteX624" fmla="*/ 4573425 w 12305293"/>
              <a:gd name="connsiteY624" fmla="*/ 3476690 h 3722511"/>
              <a:gd name="connsiteX625" fmla="*/ 4643089 w 12305293"/>
              <a:gd name="connsiteY625" fmla="*/ 3476690 h 3722511"/>
              <a:gd name="connsiteX626" fmla="*/ 4643089 w 12305293"/>
              <a:gd name="connsiteY626" fmla="*/ 2465449 h 3722511"/>
              <a:gd name="connsiteX627" fmla="*/ 4704652 w 12305293"/>
              <a:gd name="connsiteY627" fmla="*/ 2465449 h 3722511"/>
              <a:gd name="connsiteX628" fmla="*/ 4704652 w 12305293"/>
              <a:gd name="connsiteY628" fmla="*/ 2465448 h 3722511"/>
              <a:gd name="connsiteX629" fmla="*/ 4704652 w 12305293"/>
              <a:gd name="connsiteY629" fmla="*/ 2028884 h 3722511"/>
              <a:gd name="connsiteX630" fmla="*/ 4704652 w 12305293"/>
              <a:gd name="connsiteY630" fmla="*/ 1741545 h 3722511"/>
              <a:gd name="connsiteX631" fmla="*/ 4735434 w 12305293"/>
              <a:gd name="connsiteY631" fmla="*/ 1671695 h 3722511"/>
              <a:gd name="connsiteX632" fmla="*/ 4766216 w 12305293"/>
              <a:gd name="connsiteY632" fmla="*/ 1741545 h 3722511"/>
              <a:gd name="connsiteX633" fmla="*/ 4913644 w 12305293"/>
              <a:gd name="connsiteY633" fmla="*/ 1555807 h 3722511"/>
              <a:gd name="connsiteX634" fmla="*/ 4913644 w 12305293"/>
              <a:gd name="connsiteY634" fmla="*/ 1555808 h 3722511"/>
              <a:gd name="connsiteX635" fmla="*/ 4913645 w 12305293"/>
              <a:gd name="connsiteY635" fmla="*/ 1555807 h 3722511"/>
              <a:gd name="connsiteX636" fmla="*/ 5059454 w 12305293"/>
              <a:gd name="connsiteY636" fmla="*/ 1741545 h 3722511"/>
              <a:gd name="connsiteX637" fmla="*/ 5062694 w 12305293"/>
              <a:gd name="connsiteY637" fmla="*/ 1741545 h 3722511"/>
              <a:gd name="connsiteX638" fmla="*/ 5093475 w 12305293"/>
              <a:gd name="connsiteY638" fmla="*/ 1671695 h 3722511"/>
              <a:gd name="connsiteX639" fmla="*/ 5124257 w 12305293"/>
              <a:gd name="connsiteY639" fmla="*/ 1741545 h 3722511"/>
              <a:gd name="connsiteX640" fmla="*/ 5124257 w 12305293"/>
              <a:gd name="connsiteY640" fmla="*/ 2028884 h 3722511"/>
              <a:gd name="connsiteX641" fmla="*/ 5124257 w 12305293"/>
              <a:gd name="connsiteY641" fmla="*/ 2465449 h 3722511"/>
              <a:gd name="connsiteX642" fmla="*/ 5187441 w 12305293"/>
              <a:gd name="connsiteY642" fmla="*/ 2465449 h 3722511"/>
              <a:gd name="connsiteX643" fmla="*/ 5187441 w 12305293"/>
              <a:gd name="connsiteY643" fmla="*/ 3476690 h 3722511"/>
              <a:gd name="connsiteX644" fmla="*/ 5255485 w 12305293"/>
              <a:gd name="connsiteY644" fmla="*/ 3476690 h 3722511"/>
              <a:gd name="connsiteX645" fmla="*/ 5282926 w 12305293"/>
              <a:gd name="connsiteY645" fmla="*/ 3528335 h 3722511"/>
              <a:gd name="connsiteX646" fmla="*/ 5282926 w 12305293"/>
              <a:gd name="connsiteY646" fmla="*/ 2773408 h 3722511"/>
              <a:gd name="connsiteX647" fmla="*/ 5282941 w 12305293"/>
              <a:gd name="connsiteY647" fmla="*/ 2773408 h 3722511"/>
              <a:gd name="connsiteX648" fmla="*/ 5282941 w 12305293"/>
              <a:gd name="connsiteY648" fmla="*/ 2700418 h 3722511"/>
              <a:gd name="connsiteX649" fmla="*/ 5417408 w 12305293"/>
              <a:gd name="connsiteY649" fmla="*/ 2700418 h 3722511"/>
              <a:gd name="connsiteX650" fmla="*/ 5417409 w 12305293"/>
              <a:gd name="connsiteY650" fmla="*/ 2700417 h 3722511"/>
              <a:gd name="connsiteX651" fmla="*/ 5417408 w 12305293"/>
              <a:gd name="connsiteY651" fmla="*/ 2700417 h 3722511"/>
              <a:gd name="connsiteX652" fmla="*/ 5282941 w 12305293"/>
              <a:gd name="connsiteY652" fmla="*/ 2700417 h 3722511"/>
              <a:gd name="connsiteX653" fmla="*/ 5621538 w 12305293"/>
              <a:gd name="connsiteY653" fmla="*/ 2440065 h 3722511"/>
              <a:gd name="connsiteX654" fmla="*/ 5958515 w 12305293"/>
              <a:gd name="connsiteY654" fmla="*/ 2700417 h 3722511"/>
              <a:gd name="connsiteX655" fmla="*/ 5824047 w 12305293"/>
              <a:gd name="connsiteY655" fmla="*/ 2700417 h 3722511"/>
              <a:gd name="connsiteX656" fmla="*/ 5824048 w 12305293"/>
              <a:gd name="connsiteY656" fmla="*/ 2700418 h 3722511"/>
              <a:gd name="connsiteX657" fmla="*/ 5958515 w 12305293"/>
              <a:gd name="connsiteY657" fmla="*/ 2700418 h 3722511"/>
              <a:gd name="connsiteX658" fmla="*/ 5958515 w 12305293"/>
              <a:gd name="connsiteY658" fmla="*/ 2773444 h 3722511"/>
              <a:gd name="connsiteX659" fmla="*/ 5958498 w 12305293"/>
              <a:gd name="connsiteY659" fmla="*/ 2773444 h 3722511"/>
              <a:gd name="connsiteX660" fmla="*/ 5958498 w 12305293"/>
              <a:gd name="connsiteY660" fmla="*/ 3722511 h 3722511"/>
              <a:gd name="connsiteX661" fmla="*/ 1621689 w 12305293"/>
              <a:gd name="connsiteY661" fmla="*/ 3722511 h 3722511"/>
              <a:gd name="connsiteX662" fmla="*/ 1621689 w 12305293"/>
              <a:gd name="connsiteY662" fmla="*/ 2544808 h 3722511"/>
              <a:gd name="connsiteX663" fmla="*/ 1639501 w 12305293"/>
              <a:gd name="connsiteY663" fmla="*/ 2544808 h 3722511"/>
              <a:gd name="connsiteX664" fmla="*/ 1680000 w 12305293"/>
              <a:gd name="connsiteY664" fmla="*/ 2544808 h 3722511"/>
              <a:gd name="connsiteX665" fmla="*/ 1680000 w 12305293"/>
              <a:gd name="connsiteY665" fmla="*/ 2233658 h 3722511"/>
              <a:gd name="connsiteX666" fmla="*/ 1767513 w 12305293"/>
              <a:gd name="connsiteY666" fmla="*/ 2233658 h 3722511"/>
              <a:gd name="connsiteX667" fmla="*/ 1767513 w 12305293"/>
              <a:gd name="connsiteY667" fmla="*/ 1968545 h 3722511"/>
              <a:gd name="connsiteX668" fmla="*/ 1793446 w 12305293"/>
              <a:gd name="connsiteY668" fmla="*/ 1968545 h 3722511"/>
              <a:gd name="connsiteX669" fmla="*/ 1793446 w 12305293"/>
              <a:gd name="connsiteY669" fmla="*/ 1833608 h 3722511"/>
              <a:gd name="connsiteX670" fmla="*/ 1848543 w 12305293"/>
              <a:gd name="connsiteY670" fmla="*/ 1833608 h 3722511"/>
              <a:gd name="connsiteX671" fmla="*/ 1848543 w 12305293"/>
              <a:gd name="connsiteY671" fmla="*/ 1736770 h 3722511"/>
              <a:gd name="connsiteX672" fmla="*/ 1905234 w 12305293"/>
              <a:gd name="connsiteY672" fmla="*/ 1736770 h 3722511"/>
              <a:gd name="connsiteX673" fmla="*/ 1905234 w 12305293"/>
              <a:gd name="connsiteY673" fmla="*/ 1693908 h 3722511"/>
              <a:gd name="connsiteX674" fmla="*/ 1979758 w 12305293"/>
              <a:gd name="connsiteY674" fmla="*/ 1693908 h 3722511"/>
              <a:gd name="connsiteX675" fmla="*/ 1988915 w 12305293"/>
              <a:gd name="connsiteY675" fmla="*/ 1479595 h 3722511"/>
              <a:gd name="connsiteX676" fmla="*/ 1988666 w 12305293"/>
              <a:gd name="connsiteY676" fmla="*/ 1479595 h 3722511"/>
              <a:gd name="connsiteX677" fmla="*/ 1987883 w 12305293"/>
              <a:gd name="connsiteY677" fmla="*/ 1479595 h 3722511"/>
              <a:gd name="connsiteX678" fmla="*/ 1987492 w 12305293"/>
              <a:gd name="connsiteY678" fmla="*/ 1479595 h 3722511"/>
              <a:gd name="connsiteX679" fmla="*/ 1980334 w 12305293"/>
              <a:gd name="connsiteY679" fmla="*/ 1479595 h 3722511"/>
              <a:gd name="connsiteX680" fmla="*/ 1979256 w 12305293"/>
              <a:gd name="connsiteY680" fmla="*/ 1479595 h 3722511"/>
              <a:gd name="connsiteX681" fmla="*/ 1967873 w 12305293"/>
              <a:gd name="connsiteY681" fmla="*/ 1475847 h 3722511"/>
              <a:gd name="connsiteX682" fmla="*/ 1963542 w 12305293"/>
              <a:gd name="connsiteY682" fmla="*/ 1467600 h 3722511"/>
              <a:gd name="connsiteX683" fmla="*/ 1979256 w 12305293"/>
              <a:gd name="connsiteY683" fmla="*/ 1452607 h 3722511"/>
              <a:gd name="connsiteX684" fmla="*/ 1980433 w 12305293"/>
              <a:gd name="connsiteY684" fmla="*/ 1452607 h 3722511"/>
              <a:gd name="connsiteX685" fmla="*/ 1988666 w 12305293"/>
              <a:gd name="connsiteY685" fmla="*/ 1452607 h 3722511"/>
              <a:gd name="connsiteX686" fmla="*/ 1988695 w 12305293"/>
              <a:gd name="connsiteY686" fmla="*/ 1452607 h 3722511"/>
              <a:gd name="connsiteX687" fmla="*/ 1989477 w 12305293"/>
              <a:gd name="connsiteY687" fmla="*/ 1452607 h 3722511"/>
              <a:gd name="connsiteX688" fmla="*/ 2003620 w 12305293"/>
              <a:gd name="connsiteY688" fmla="*/ 1132318 h 3722511"/>
              <a:gd name="connsiteX689" fmla="*/ 2003121 w 12305293"/>
              <a:gd name="connsiteY689" fmla="*/ 1142981 h 3722511"/>
              <a:gd name="connsiteX690" fmla="*/ 2003620 w 12305293"/>
              <a:gd name="connsiteY690" fmla="*/ 1132317 h 3722511"/>
              <a:gd name="connsiteX691" fmla="*/ 2003620 w 12305293"/>
              <a:gd name="connsiteY691" fmla="*/ 1132271 h 3722511"/>
              <a:gd name="connsiteX692" fmla="*/ 2003926 w 12305293"/>
              <a:gd name="connsiteY692" fmla="*/ 1125367 h 3722511"/>
              <a:gd name="connsiteX693" fmla="*/ 2007272 w 12305293"/>
              <a:gd name="connsiteY693" fmla="*/ 1049602 h 3722511"/>
              <a:gd name="connsiteX694" fmla="*/ 2007280 w 12305293"/>
              <a:gd name="connsiteY694" fmla="*/ 1049382 h 3722511"/>
              <a:gd name="connsiteX695" fmla="*/ 2007283 w 12305293"/>
              <a:gd name="connsiteY695" fmla="*/ 1049382 h 3722511"/>
              <a:gd name="connsiteX696" fmla="*/ 2007483 w 12305293"/>
              <a:gd name="connsiteY696" fmla="*/ 1049382 h 3722511"/>
              <a:gd name="connsiteX697" fmla="*/ 2008268 w 12305293"/>
              <a:gd name="connsiteY697" fmla="*/ 1049382 h 3722511"/>
              <a:gd name="connsiteX698" fmla="*/ 2012971 w 12305293"/>
              <a:gd name="connsiteY698" fmla="*/ 1049382 h 3722511"/>
              <a:gd name="connsiteX699" fmla="*/ 2013755 w 12305293"/>
              <a:gd name="connsiteY699" fmla="*/ 1049382 h 3722511"/>
              <a:gd name="connsiteX700" fmla="*/ 2020230 w 12305293"/>
              <a:gd name="connsiteY700" fmla="*/ 1049382 h 3722511"/>
              <a:gd name="connsiteX701" fmla="*/ 2037377 w 12305293"/>
              <a:gd name="connsiteY701" fmla="*/ 1452607 h 3722511"/>
              <a:gd name="connsiteX702" fmla="*/ 2039561 w 12305293"/>
              <a:gd name="connsiteY702" fmla="*/ 1452607 h 3722511"/>
              <a:gd name="connsiteX703" fmla="*/ 2048198 w 12305293"/>
              <a:gd name="connsiteY703" fmla="*/ 1452607 h 3722511"/>
              <a:gd name="connsiteX704" fmla="*/ 2063900 w 12305293"/>
              <a:gd name="connsiteY704" fmla="*/ 1467600 h 3722511"/>
              <a:gd name="connsiteX705" fmla="*/ 2048198 w 12305293"/>
              <a:gd name="connsiteY705" fmla="*/ 1479595 h 3722511"/>
              <a:gd name="connsiteX706" fmla="*/ 2038529 w 12305293"/>
              <a:gd name="connsiteY706" fmla="*/ 1479595 h 3722511"/>
              <a:gd name="connsiteX707" fmla="*/ 2047691 w 12305293"/>
              <a:gd name="connsiteY707" fmla="*/ 1693908 h 3722511"/>
              <a:gd name="connsiteX708" fmla="*/ 2122229 w 12305293"/>
              <a:gd name="connsiteY708" fmla="*/ 1693908 h 3722511"/>
              <a:gd name="connsiteX709" fmla="*/ 2122229 w 12305293"/>
              <a:gd name="connsiteY709" fmla="*/ 1736770 h 3722511"/>
              <a:gd name="connsiteX710" fmla="*/ 2178885 w 12305293"/>
              <a:gd name="connsiteY710" fmla="*/ 1736770 h 3722511"/>
              <a:gd name="connsiteX711" fmla="*/ 2178885 w 12305293"/>
              <a:gd name="connsiteY711" fmla="*/ 1833608 h 3722511"/>
              <a:gd name="connsiteX712" fmla="*/ 2234022 w 12305293"/>
              <a:gd name="connsiteY712" fmla="*/ 1833608 h 3722511"/>
              <a:gd name="connsiteX713" fmla="*/ 2234022 w 12305293"/>
              <a:gd name="connsiteY713" fmla="*/ 1968545 h 3722511"/>
              <a:gd name="connsiteX714" fmla="*/ 2259999 w 12305293"/>
              <a:gd name="connsiteY714" fmla="*/ 1968545 h 3722511"/>
              <a:gd name="connsiteX715" fmla="*/ 2259999 w 12305293"/>
              <a:gd name="connsiteY715" fmla="*/ 2233658 h 3722511"/>
              <a:gd name="connsiteX716" fmla="*/ 2345764 w 12305293"/>
              <a:gd name="connsiteY716" fmla="*/ 2233658 h 3722511"/>
              <a:gd name="connsiteX717" fmla="*/ 2345764 w 12305293"/>
              <a:gd name="connsiteY717" fmla="*/ 2544808 h 3722511"/>
              <a:gd name="connsiteX718" fmla="*/ 2405725 w 12305293"/>
              <a:gd name="connsiteY718" fmla="*/ 2544808 h 3722511"/>
              <a:gd name="connsiteX719" fmla="*/ 2405725 w 12305293"/>
              <a:gd name="connsiteY719" fmla="*/ 3703690 h 3722511"/>
              <a:gd name="connsiteX720" fmla="*/ 2408302 w 12305293"/>
              <a:gd name="connsiteY720" fmla="*/ 3703690 h 3722511"/>
              <a:gd name="connsiteX721" fmla="*/ 2408304 w 12305293"/>
              <a:gd name="connsiteY721" fmla="*/ 3703690 h 3722511"/>
              <a:gd name="connsiteX722" fmla="*/ 2411417 w 12305293"/>
              <a:gd name="connsiteY722" fmla="*/ 3703690 h 3722511"/>
              <a:gd name="connsiteX723" fmla="*/ 2433205 w 12305293"/>
              <a:gd name="connsiteY723" fmla="*/ 3703690 h 3722511"/>
              <a:gd name="connsiteX724" fmla="*/ 2433245 w 12305293"/>
              <a:gd name="connsiteY724" fmla="*/ 3703690 h 3722511"/>
              <a:gd name="connsiteX725" fmla="*/ 2433245 w 12305293"/>
              <a:gd name="connsiteY725" fmla="*/ 3644953 h 3722511"/>
              <a:gd name="connsiteX726" fmla="*/ 2412185 w 12305293"/>
              <a:gd name="connsiteY726" fmla="*/ 3644953 h 3722511"/>
              <a:gd name="connsiteX727" fmla="*/ 2412184 w 12305293"/>
              <a:gd name="connsiteY727" fmla="*/ 3644953 h 3722511"/>
              <a:gd name="connsiteX728" fmla="*/ 2412184 w 12305293"/>
              <a:gd name="connsiteY728" fmla="*/ 3592565 h 3722511"/>
              <a:gd name="connsiteX729" fmla="*/ 2412185 w 12305293"/>
              <a:gd name="connsiteY729" fmla="*/ 3592565 h 3722511"/>
              <a:gd name="connsiteX730" fmla="*/ 2433245 w 12305293"/>
              <a:gd name="connsiteY730" fmla="*/ 3592565 h 3722511"/>
              <a:gd name="connsiteX731" fmla="*/ 2433245 w 12305293"/>
              <a:gd name="connsiteY731" fmla="*/ 3532240 h 3722511"/>
              <a:gd name="connsiteX732" fmla="*/ 2433247 w 12305293"/>
              <a:gd name="connsiteY732" fmla="*/ 3532240 h 3722511"/>
              <a:gd name="connsiteX733" fmla="*/ 2496433 w 12305293"/>
              <a:gd name="connsiteY733" fmla="*/ 3532240 h 3722511"/>
              <a:gd name="connsiteX734" fmla="*/ 2496433 w 12305293"/>
              <a:gd name="connsiteY734" fmla="*/ 3532239 h 3722511"/>
              <a:gd name="connsiteX735" fmla="*/ 2496433 w 12305293"/>
              <a:gd name="connsiteY735" fmla="*/ 2916288 h 3722511"/>
              <a:gd name="connsiteX736" fmla="*/ 2496582 w 12305293"/>
              <a:gd name="connsiteY736" fmla="*/ 2916123 h 3722511"/>
              <a:gd name="connsiteX737" fmla="*/ 2551787 w 12305293"/>
              <a:gd name="connsiteY737" fmla="*/ 2854973 h 3722511"/>
              <a:gd name="connsiteX738" fmla="*/ 2551787 w 12305293"/>
              <a:gd name="connsiteY738" fmla="*/ 2800850 h 3722511"/>
              <a:gd name="connsiteX739" fmla="*/ 2551787 w 12305293"/>
              <a:gd name="connsiteY739" fmla="*/ 2632571 h 3722511"/>
              <a:gd name="connsiteX740" fmla="*/ 2548840 w 12305293"/>
              <a:gd name="connsiteY740" fmla="*/ 2566607 h 3722511"/>
              <a:gd name="connsiteX741" fmla="*/ 2539796 w 12305293"/>
              <a:gd name="connsiteY741" fmla="*/ 2517413 h 3722511"/>
              <a:gd name="connsiteX742" fmla="*/ 2502127 w 12305293"/>
              <a:gd name="connsiteY742" fmla="*/ 2431534 h 3722511"/>
              <a:gd name="connsiteX743" fmla="*/ 2446207 w 12305293"/>
              <a:gd name="connsiteY743" fmla="*/ 2303290 h 3722511"/>
              <a:gd name="connsiteX744" fmla="*/ 2446207 w 12305293"/>
              <a:gd name="connsiteY744" fmla="*/ 2300236 h 3722511"/>
              <a:gd name="connsiteX745" fmla="*/ 2446207 w 12305293"/>
              <a:gd name="connsiteY745" fmla="*/ 2297183 h 3722511"/>
              <a:gd name="connsiteX746" fmla="*/ 2452206 w 12305293"/>
              <a:gd name="connsiteY746" fmla="*/ 2263977 h 3722511"/>
              <a:gd name="connsiteX747" fmla="*/ 2452528 w 12305293"/>
              <a:gd name="connsiteY747" fmla="*/ 2261877 h 3722511"/>
              <a:gd name="connsiteX748" fmla="*/ 2452632 w 12305293"/>
              <a:gd name="connsiteY748" fmla="*/ 2261627 h 3722511"/>
              <a:gd name="connsiteX749" fmla="*/ 2453585 w 12305293"/>
              <a:gd name="connsiteY749" fmla="*/ 2256343 h 3722511"/>
              <a:gd name="connsiteX750" fmla="*/ 2461432 w 12305293"/>
              <a:gd name="connsiteY750" fmla="*/ 2240297 h 3722511"/>
              <a:gd name="connsiteX751" fmla="*/ 2465327 w 12305293"/>
              <a:gd name="connsiteY751" fmla="*/ 2230857 h 3722511"/>
              <a:gd name="connsiteX752" fmla="*/ 2467128 w 12305293"/>
              <a:gd name="connsiteY752" fmla="*/ 2228504 h 3722511"/>
              <a:gd name="connsiteX753" fmla="*/ 2465855 w 12305293"/>
              <a:gd name="connsiteY753" fmla="*/ 2220479 h 3722511"/>
              <a:gd name="connsiteX754" fmla="*/ 2449634 w 12305293"/>
              <a:gd name="connsiteY754" fmla="*/ 1994037 h 3722511"/>
              <a:gd name="connsiteX755" fmla="*/ 2451718 w 12305293"/>
              <a:gd name="connsiteY755" fmla="*/ 1909727 h 3722511"/>
              <a:gd name="connsiteX756" fmla="*/ 2436271 w 12305293"/>
              <a:gd name="connsiteY756" fmla="*/ 1903696 h 3722511"/>
              <a:gd name="connsiteX757" fmla="*/ 2430006 w 12305293"/>
              <a:gd name="connsiteY757" fmla="*/ 1888409 h 3722511"/>
              <a:gd name="connsiteX758" fmla="*/ 2430006 w 12305293"/>
              <a:gd name="connsiteY758" fmla="*/ 1851720 h 3722511"/>
              <a:gd name="connsiteX759" fmla="*/ 2430031 w 12305293"/>
              <a:gd name="connsiteY759" fmla="*/ 1851662 h 3722511"/>
              <a:gd name="connsiteX760" fmla="*/ 2436662 w 12305293"/>
              <a:gd name="connsiteY760" fmla="*/ 1834905 h 3722511"/>
              <a:gd name="connsiteX761" fmla="*/ 2451158 w 12305293"/>
              <a:gd name="connsiteY761" fmla="*/ 1828883 h 3722511"/>
              <a:gd name="connsiteX762" fmla="*/ 2449312 w 12305293"/>
              <a:gd name="connsiteY762" fmla="*/ 1779636 h 3722511"/>
              <a:gd name="connsiteX763" fmla="*/ 2402465 w 12305293"/>
              <a:gd name="connsiteY763" fmla="*/ 1779636 h 3722511"/>
              <a:gd name="connsiteX764" fmla="*/ 2402465 w 12305293"/>
              <a:gd name="connsiteY764" fmla="*/ 1720898 h 3722511"/>
              <a:gd name="connsiteX765" fmla="*/ 2447101 w 12305293"/>
              <a:gd name="connsiteY765" fmla="*/ 1720898 h 3722511"/>
              <a:gd name="connsiteX766" fmla="*/ 2446208 w 12305293"/>
              <a:gd name="connsiteY766" fmla="*/ 1697089 h 3722511"/>
              <a:gd name="connsiteX767" fmla="*/ 2446207 w 12305293"/>
              <a:gd name="connsiteY767" fmla="*/ 1697086 h 3722511"/>
              <a:gd name="connsiteX768" fmla="*/ 2445846 w 12305293"/>
              <a:gd name="connsiteY768" fmla="*/ 1697086 h 3722511"/>
              <a:gd name="connsiteX769" fmla="*/ 2445398 w 12305293"/>
              <a:gd name="connsiteY769" fmla="*/ 1697086 h 3722511"/>
              <a:gd name="connsiteX770" fmla="*/ 2437195 w 12305293"/>
              <a:gd name="connsiteY770" fmla="*/ 1680973 h 3722511"/>
              <a:gd name="connsiteX771" fmla="*/ 2436537 w 12305293"/>
              <a:gd name="connsiteY771" fmla="*/ 1669670 h 3722511"/>
              <a:gd name="connsiteX772" fmla="*/ 2436488 w 12305293"/>
              <a:gd name="connsiteY772" fmla="*/ 1669463 h 3722511"/>
              <a:gd name="connsiteX773" fmla="*/ 2436519 w 12305293"/>
              <a:gd name="connsiteY773" fmla="*/ 1669370 h 3722511"/>
              <a:gd name="connsiteX774" fmla="*/ 2436172 w 12305293"/>
              <a:gd name="connsiteY774" fmla="*/ 1663421 h 3722511"/>
              <a:gd name="connsiteX775" fmla="*/ 2445398 w 12305293"/>
              <a:gd name="connsiteY775" fmla="*/ 1641841 h 3722511"/>
              <a:gd name="connsiteX776" fmla="*/ 2475142 w 12305293"/>
              <a:gd name="connsiteY776" fmla="*/ 1602512 h 3722511"/>
              <a:gd name="connsiteX777" fmla="*/ 2476276 w 12305293"/>
              <a:gd name="connsiteY777" fmla="*/ 1599055 h 3722511"/>
              <a:gd name="connsiteX778" fmla="*/ 2482893 w 12305293"/>
              <a:gd name="connsiteY778" fmla="*/ 1558973 h 3722511"/>
              <a:gd name="connsiteX779" fmla="*/ 2483674 w 12305293"/>
              <a:gd name="connsiteY779" fmla="*/ 1560103 h 3722511"/>
              <a:gd name="connsiteX780" fmla="*/ 2483291 w 12305293"/>
              <a:gd name="connsiteY780" fmla="*/ 1558973 h 3722511"/>
              <a:gd name="connsiteX781" fmla="*/ 2520735 w 12305293"/>
              <a:gd name="connsiteY781" fmla="*/ 1647979 h 3722511"/>
              <a:gd name="connsiteX782" fmla="*/ 2515275 w 12305293"/>
              <a:gd name="connsiteY782" fmla="*/ 1674834 h 3722511"/>
              <a:gd name="connsiteX783" fmla="*/ 2512393 w 12305293"/>
              <a:gd name="connsiteY783" fmla="*/ 1678124 h 3722511"/>
              <a:gd name="connsiteX784" fmla="*/ 2511900 w 12305293"/>
              <a:gd name="connsiteY784" fmla="*/ 1679696 h 3722511"/>
              <a:gd name="connsiteX785" fmla="*/ 2500361 w 12305293"/>
              <a:gd name="connsiteY785" fmla="*/ 1691850 h 3722511"/>
              <a:gd name="connsiteX786" fmla="*/ 2495772 w 12305293"/>
              <a:gd name="connsiteY786" fmla="*/ 1697086 h 3722511"/>
              <a:gd name="connsiteX787" fmla="*/ 2496433 w 12305293"/>
              <a:gd name="connsiteY787" fmla="*/ 1697086 h 3722511"/>
              <a:gd name="connsiteX788" fmla="*/ 2495537 w 12305293"/>
              <a:gd name="connsiteY788" fmla="*/ 1720898 h 3722511"/>
              <a:gd name="connsiteX789" fmla="*/ 2538555 w 12305293"/>
              <a:gd name="connsiteY789" fmla="*/ 1720898 h 3722511"/>
              <a:gd name="connsiteX790" fmla="*/ 2538557 w 12305293"/>
              <a:gd name="connsiteY790" fmla="*/ 1720898 h 3722511"/>
              <a:gd name="connsiteX791" fmla="*/ 2538557 w 12305293"/>
              <a:gd name="connsiteY791" fmla="*/ 1779636 h 3722511"/>
              <a:gd name="connsiteX792" fmla="*/ 2538555 w 12305293"/>
              <a:gd name="connsiteY792" fmla="*/ 1779636 h 3722511"/>
              <a:gd name="connsiteX793" fmla="*/ 2493330 w 12305293"/>
              <a:gd name="connsiteY793" fmla="*/ 1779636 h 3722511"/>
              <a:gd name="connsiteX794" fmla="*/ 2491064 w 12305293"/>
              <a:gd name="connsiteY794" fmla="*/ 1839961 h 3722511"/>
              <a:gd name="connsiteX795" fmla="*/ 2492381 w 12305293"/>
              <a:gd name="connsiteY795" fmla="*/ 1839961 h 3722511"/>
              <a:gd name="connsiteX796" fmla="*/ 2501294 w 12305293"/>
              <a:gd name="connsiteY796" fmla="*/ 1848957 h 3722511"/>
              <a:gd name="connsiteX797" fmla="*/ 2501294 w 12305293"/>
              <a:gd name="connsiteY797" fmla="*/ 1852661 h 3722511"/>
              <a:gd name="connsiteX798" fmla="*/ 2501833 w 12305293"/>
              <a:gd name="connsiteY798" fmla="*/ 1852661 h 3722511"/>
              <a:gd name="connsiteX799" fmla="*/ 2501833 w 12305293"/>
              <a:gd name="connsiteY799" fmla="*/ 1857548 h 3722511"/>
              <a:gd name="connsiteX800" fmla="*/ 2501959 w 12305293"/>
              <a:gd name="connsiteY800" fmla="*/ 1857424 h 3722511"/>
              <a:gd name="connsiteX801" fmla="*/ 2501959 w 12305293"/>
              <a:gd name="connsiteY801" fmla="*/ 1900128 h 3722511"/>
              <a:gd name="connsiteX802" fmla="*/ 2501833 w 12305293"/>
              <a:gd name="connsiteY802" fmla="*/ 1900321 h 3722511"/>
              <a:gd name="connsiteX803" fmla="*/ 2501833 w 12305293"/>
              <a:gd name="connsiteY803" fmla="*/ 1901315 h 3722511"/>
              <a:gd name="connsiteX804" fmla="*/ 2495623 w 12305293"/>
              <a:gd name="connsiteY804" fmla="*/ 1910817 h 3722511"/>
              <a:gd name="connsiteX805" fmla="*/ 2489608 w 12305293"/>
              <a:gd name="connsiteY805" fmla="*/ 1922226 h 3722511"/>
              <a:gd name="connsiteX806" fmla="*/ 2490054 w 12305293"/>
              <a:gd name="connsiteY806" fmla="*/ 1930703 h 3722511"/>
              <a:gd name="connsiteX807" fmla="*/ 2494440 w 12305293"/>
              <a:gd name="connsiteY807" fmla="*/ 1986107 h 3722511"/>
              <a:gd name="connsiteX808" fmla="*/ 2500141 w 12305293"/>
              <a:gd name="connsiteY808" fmla="*/ 2023322 h 3722511"/>
              <a:gd name="connsiteX809" fmla="*/ 2508793 w 12305293"/>
              <a:gd name="connsiteY809" fmla="*/ 2060558 h 3722511"/>
              <a:gd name="connsiteX810" fmla="*/ 2518318 w 12305293"/>
              <a:gd name="connsiteY810" fmla="*/ 2098634 h 3722511"/>
              <a:gd name="connsiteX811" fmla="*/ 2545321 w 12305293"/>
              <a:gd name="connsiteY811" fmla="*/ 2177702 h 3722511"/>
              <a:gd name="connsiteX812" fmla="*/ 2545659 w 12305293"/>
              <a:gd name="connsiteY812" fmla="*/ 2178866 h 3722511"/>
              <a:gd name="connsiteX813" fmla="*/ 2545838 w 12305293"/>
              <a:gd name="connsiteY813" fmla="*/ 2178843 h 3722511"/>
              <a:gd name="connsiteX814" fmla="*/ 2545621 w 12305293"/>
              <a:gd name="connsiteY814" fmla="*/ 2178099 h 3722511"/>
              <a:gd name="connsiteX815" fmla="*/ 2551787 w 12305293"/>
              <a:gd name="connsiteY815" fmla="*/ 2178099 h 3722511"/>
              <a:gd name="connsiteX816" fmla="*/ 2551835 w 12305293"/>
              <a:gd name="connsiteY816" fmla="*/ 2178099 h 3722511"/>
              <a:gd name="connsiteX817" fmla="*/ 2554940 w 12305293"/>
              <a:gd name="connsiteY817" fmla="*/ 2178099 h 3722511"/>
              <a:gd name="connsiteX818" fmla="*/ 2559630 w 12305293"/>
              <a:gd name="connsiteY818" fmla="*/ 2191926 h 3722511"/>
              <a:gd name="connsiteX819" fmla="*/ 2562207 w 12305293"/>
              <a:gd name="connsiteY819" fmla="*/ 2196470 h 3722511"/>
              <a:gd name="connsiteX820" fmla="*/ 2565540 w 12305293"/>
              <a:gd name="connsiteY820" fmla="*/ 2196182 h 3722511"/>
              <a:gd name="connsiteX821" fmla="*/ 2575757 w 12305293"/>
              <a:gd name="connsiteY821" fmla="*/ 2195298 h 3722511"/>
              <a:gd name="connsiteX822" fmla="*/ 2588432 w 12305293"/>
              <a:gd name="connsiteY822" fmla="*/ 2194201 h 3722511"/>
              <a:gd name="connsiteX823" fmla="*/ 2645482 w 12305293"/>
              <a:gd name="connsiteY823" fmla="*/ 2187624 h 3722511"/>
              <a:gd name="connsiteX824" fmla="*/ 2645482 w 12305293"/>
              <a:gd name="connsiteY824" fmla="*/ 2187237 h 3722511"/>
              <a:gd name="connsiteX825" fmla="*/ 2646492 w 12305293"/>
              <a:gd name="connsiteY825" fmla="*/ 2187237 h 3722511"/>
              <a:gd name="connsiteX826" fmla="*/ 2650822 w 12305293"/>
              <a:gd name="connsiteY826" fmla="*/ 2171884 h 3722511"/>
              <a:gd name="connsiteX827" fmla="*/ 2651353 w 12305293"/>
              <a:gd name="connsiteY827" fmla="*/ 2168254 h 3722511"/>
              <a:gd name="connsiteX828" fmla="*/ 2554786 w 12305293"/>
              <a:gd name="connsiteY828" fmla="*/ 2117788 h 3722511"/>
              <a:gd name="connsiteX829" fmla="*/ 2554757 w 12305293"/>
              <a:gd name="connsiteY829" fmla="*/ 2117774 h 3722511"/>
              <a:gd name="connsiteX830" fmla="*/ 2554761 w 12305293"/>
              <a:gd name="connsiteY830" fmla="*/ 2117775 h 3722511"/>
              <a:gd name="connsiteX831" fmla="*/ 2554759 w 12305293"/>
              <a:gd name="connsiteY831" fmla="*/ 2117774 h 3722511"/>
              <a:gd name="connsiteX832" fmla="*/ 2664611 w 12305293"/>
              <a:gd name="connsiteY832" fmla="*/ 2147603 h 3722511"/>
              <a:gd name="connsiteX833" fmla="*/ 2671887 w 12305293"/>
              <a:gd name="connsiteY833" fmla="*/ 2142865 h 3722511"/>
              <a:gd name="connsiteX834" fmla="*/ 2675375 w 12305293"/>
              <a:gd name="connsiteY834" fmla="*/ 2139162 h 3722511"/>
              <a:gd name="connsiteX835" fmla="*/ 2682527 w 12305293"/>
              <a:gd name="connsiteY835" fmla="*/ 2135713 h 3722511"/>
              <a:gd name="connsiteX836" fmla="*/ 2605626 w 12305293"/>
              <a:gd name="connsiteY836" fmla="*/ 2056524 h 3722511"/>
              <a:gd name="connsiteX837" fmla="*/ 2604981 w 12305293"/>
              <a:gd name="connsiteY837" fmla="*/ 2055862 h 3722511"/>
              <a:gd name="connsiteX838" fmla="*/ 2604986 w 12305293"/>
              <a:gd name="connsiteY838" fmla="*/ 2055865 h 3722511"/>
              <a:gd name="connsiteX839" fmla="*/ 2604983 w 12305293"/>
              <a:gd name="connsiteY839" fmla="*/ 2055862 h 3722511"/>
              <a:gd name="connsiteX840" fmla="*/ 2605280 w 12305293"/>
              <a:gd name="connsiteY840" fmla="*/ 2056059 h 3722511"/>
              <a:gd name="connsiteX841" fmla="*/ 2606576 w 12305293"/>
              <a:gd name="connsiteY841" fmla="*/ 2056911 h 3722511"/>
              <a:gd name="connsiteX842" fmla="*/ 2707043 w 12305293"/>
              <a:gd name="connsiteY842" fmla="*/ 2123025 h 3722511"/>
              <a:gd name="connsiteX843" fmla="*/ 2706653 w 12305293"/>
              <a:gd name="connsiteY843" fmla="*/ 2123217 h 3722511"/>
              <a:gd name="connsiteX844" fmla="*/ 2707402 w 12305293"/>
              <a:gd name="connsiteY844" fmla="*/ 2123713 h 3722511"/>
              <a:gd name="connsiteX845" fmla="*/ 2707816 w 12305293"/>
              <a:gd name="connsiteY845" fmla="*/ 2123512 h 3722511"/>
              <a:gd name="connsiteX846" fmla="*/ 2710536 w 12305293"/>
              <a:gd name="connsiteY846" fmla="*/ 2123120 h 3722511"/>
              <a:gd name="connsiteX847" fmla="*/ 2735173 w 12305293"/>
              <a:gd name="connsiteY847" fmla="*/ 2117774 h 3722511"/>
              <a:gd name="connsiteX848" fmla="*/ 2734586 w 12305293"/>
              <a:gd name="connsiteY848" fmla="*/ 2117774 h 3722511"/>
              <a:gd name="connsiteX849" fmla="*/ 2747547 w 12305293"/>
              <a:gd name="connsiteY849" fmla="*/ 1992361 h 3722511"/>
              <a:gd name="connsiteX850" fmla="*/ 2763057 w 12305293"/>
              <a:gd name="connsiteY850" fmla="*/ 2120014 h 3722511"/>
              <a:gd name="connsiteX851" fmla="*/ 2787277 w 12305293"/>
              <a:gd name="connsiteY851" fmla="*/ 2123512 h 3722511"/>
              <a:gd name="connsiteX852" fmla="*/ 2789568 w 12305293"/>
              <a:gd name="connsiteY852" fmla="*/ 2124617 h 3722511"/>
              <a:gd name="connsiteX853" fmla="*/ 2893362 w 12305293"/>
              <a:gd name="connsiteY853" fmla="*/ 2055862 h 3722511"/>
              <a:gd name="connsiteX854" fmla="*/ 2814777 w 12305293"/>
              <a:gd name="connsiteY854" fmla="*/ 2136777 h 3722511"/>
              <a:gd name="connsiteX855" fmla="*/ 2819722 w 12305293"/>
              <a:gd name="connsiteY855" fmla="*/ 2139162 h 3722511"/>
              <a:gd name="connsiteX856" fmla="*/ 2828908 w 12305293"/>
              <a:gd name="connsiteY856" fmla="*/ 2148911 h 3722511"/>
              <a:gd name="connsiteX857" fmla="*/ 2943581 w 12305293"/>
              <a:gd name="connsiteY857" fmla="*/ 2117774 h 3722511"/>
              <a:gd name="connsiteX858" fmla="*/ 2843735 w 12305293"/>
              <a:gd name="connsiteY858" fmla="*/ 2169955 h 3722511"/>
              <a:gd name="connsiteX859" fmla="*/ 2848583 w 12305293"/>
              <a:gd name="connsiteY859" fmla="*/ 2187131 h 3722511"/>
              <a:gd name="connsiteX860" fmla="*/ 2963021 w 12305293"/>
              <a:gd name="connsiteY860" fmla="*/ 2200324 h 3722511"/>
              <a:gd name="connsiteX861" fmla="*/ 2847368 w 12305293"/>
              <a:gd name="connsiteY861" fmla="*/ 2209657 h 3722511"/>
              <a:gd name="connsiteX862" fmla="*/ 2862495 w 12305293"/>
              <a:gd name="connsiteY862" fmla="*/ 2392463 h 3722511"/>
              <a:gd name="connsiteX863" fmla="*/ 2872400 w 12305293"/>
              <a:gd name="connsiteY863" fmla="*/ 2393569 h 3722511"/>
              <a:gd name="connsiteX864" fmla="*/ 2899571 w 12305293"/>
              <a:gd name="connsiteY864" fmla="*/ 2400759 h 3722511"/>
              <a:gd name="connsiteX865" fmla="*/ 2936831 w 12305293"/>
              <a:gd name="connsiteY865" fmla="*/ 2544116 h 3722511"/>
              <a:gd name="connsiteX866" fmla="*/ 3005140 w 12305293"/>
              <a:gd name="connsiteY866" fmla="*/ 2589868 h 3722511"/>
              <a:gd name="connsiteX867" fmla="*/ 2946144 w 12305293"/>
              <a:gd name="connsiteY867" fmla="*/ 2647821 h 3722511"/>
              <a:gd name="connsiteX868" fmla="*/ 2946144 w 12305293"/>
              <a:gd name="connsiteY868" fmla="*/ 3137771 h 3722511"/>
              <a:gd name="connsiteX869" fmla="*/ 2946144 w 12305293"/>
              <a:gd name="connsiteY869" fmla="*/ 3144925 h 3722511"/>
              <a:gd name="connsiteX870" fmla="*/ 2997042 w 12305293"/>
              <a:gd name="connsiteY870" fmla="*/ 3184576 h 3722511"/>
              <a:gd name="connsiteX871" fmla="*/ 2997042 w 12305293"/>
              <a:gd name="connsiteY871" fmla="*/ 3532239 h 3722511"/>
              <a:gd name="connsiteX872" fmla="*/ 2946144 w 12305293"/>
              <a:gd name="connsiteY872" fmla="*/ 3532239 h 3722511"/>
              <a:gd name="connsiteX873" fmla="*/ 2946144 w 12305293"/>
              <a:gd name="connsiteY873" fmla="*/ 3532240 h 3722511"/>
              <a:gd name="connsiteX874" fmla="*/ 3055361 w 12305293"/>
              <a:gd name="connsiteY874" fmla="*/ 3532240 h 3722511"/>
              <a:gd name="connsiteX875" fmla="*/ 3055361 w 12305293"/>
              <a:gd name="connsiteY875" fmla="*/ 3592565 h 3722511"/>
              <a:gd name="connsiteX876" fmla="*/ 3065098 w 12305293"/>
              <a:gd name="connsiteY876" fmla="*/ 3592565 h 3722511"/>
              <a:gd name="connsiteX877" fmla="*/ 3065098 w 12305293"/>
              <a:gd name="connsiteY877" fmla="*/ 3587748 h 3722511"/>
              <a:gd name="connsiteX878" fmla="*/ 3065098 w 12305293"/>
              <a:gd name="connsiteY878" fmla="*/ 3231684 h 3722511"/>
              <a:gd name="connsiteX879" fmla="*/ 3065098 w 12305293"/>
              <a:gd name="connsiteY879" fmla="*/ 3154414 h 3722511"/>
              <a:gd name="connsiteX880" fmla="*/ 3065066 w 12305293"/>
              <a:gd name="connsiteY880" fmla="*/ 3154414 h 3722511"/>
              <a:gd name="connsiteX881" fmla="*/ 3065066 w 12305293"/>
              <a:gd name="connsiteY881" fmla="*/ 3108531 h 3722511"/>
              <a:gd name="connsiteX882" fmla="*/ 3065098 w 12305293"/>
              <a:gd name="connsiteY882" fmla="*/ 3108531 h 3722511"/>
              <a:gd name="connsiteX883" fmla="*/ 3065098 w 12305293"/>
              <a:gd name="connsiteY883" fmla="*/ 3108528 h 3722511"/>
              <a:gd name="connsiteX884" fmla="*/ 3065098 w 12305293"/>
              <a:gd name="connsiteY884" fmla="*/ 3105391 h 3722511"/>
              <a:gd name="connsiteX885" fmla="*/ 3065098 w 12305293"/>
              <a:gd name="connsiteY885" fmla="*/ 3097246 h 3722511"/>
              <a:gd name="connsiteX886" fmla="*/ 3065098 w 12305293"/>
              <a:gd name="connsiteY886" fmla="*/ 3081388 h 3722511"/>
              <a:gd name="connsiteX887" fmla="*/ 3065066 w 12305293"/>
              <a:gd name="connsiteY887" fmla="*/ 3081388 h 3722511"/>
              <a:gd name="connsiteX888" fmla="*/ 3065066 w 12305293"/>
              <a:gd name="connsiteY888" fmla="*/ 3035574 h 3722511"/>
              <a:gd name="connsiteX889" fmla="*/ 3065098 w 12305293"/>
              <a:gd name="connsiteY889" fmla="*/ 3035574 h 3722511"/>
              <a:gd name="connsiteX890" fmla="*/ 3065098 w 12305293"/>
              <a:gd name="connsiteY890" fmla="*/ 3035572 h 3722511"/>
              <a:gd name="connsiteX891" fmla="*/ 3177531 w 12305293"/>
              <a:gd name="connsiteY891" fmla="*/ 3035572 h 3722511"/>
              <a:gd name="connsiteX892" fmla="*/ 3232896 w 12305293"/>
              <a:gd name="connsiteY892" fmla="*/ 3035572 h 3722511"/>
              <a:gd name="connsiteX893" fmla="*/ 3236004 w 12305293"/>
              <a:gd name="connsiteY893" fmla="*/ 3020303 h 3722511"/>
              <a:gd name="connsiteX894" fmla="*/ 3252598 w 12305293"/>
              <a:gd name="connsiteY894" fmla="*/ 2975501 h 3722511"/>
              <a:gd name="connsiteX895" fmla="*/ 3263525 w 12305293"/>
              <a:gd name="connsiteY895" fmla="*/ 2942132 h 3722511"/>
              <a:gd name="connsiteX896" fmla="*/ 3266370 w 12305293"/>
              <a:gd name="connsiteY896" fmla="*/ 2938321 h 3722511"/>
              <a:gd name="connsiteX897" fmla="*/ 3268299 w 12305293"/>
              <a:gd name="connsiteY897" fmla="*/ 2933115 h 3722511"/>
              <a:gd name="connsiteX898" fmla="*/ 3296802 w 12305293"/>
              <a:gd name="connsiteY898" fmla="*/ 2897562 h 3722511"/>
              <a:gd name="connsiteX899" fmla="*/ 3319180 w 12305293"/>
              <a:gd name="connsiteY899" fmla="*/ 2867590 h 3722511"/>
              <a:gd name="connsiteX900" fmla="*/ 3323712 w 12305293"/>
              <a:gd name="connsiteY900" fmla="*/ 2863997 h 3722511"/>
              <a:gd name="connsiteX901" fmla="*/ 3324197 w 12305293"/>
              <a:gd name="connsiteY901" fmla="*/ 2863393 h 3722511"/>
              <a:gd name="connsiteX902" fmla="*/ 3325509 w 12305293"/>
              <a:gd name="connsiteY902" fmla="*/ 2862572 h 3722511"/>
              <a:gd name="connsiteX903" fmla="*/ 3354767 w 12305293"/>
              <a:gd name="connsiteY903" fmla="*/ 2839375 h 3722511"/>
              <a:gd name="connsiteX904" fmla="*/ 3394651 w 12305293"/>
              <a:gd name="connsiteY904" fmla="*/ 2818246 h 3722511"/>
              <a:gd name="connsiteX905" fmla="*/ 3398079 w 12305293"/>
              <a:gd name="connsiteY905" fmla="*/ 2817202 h 3722511"/>
              <a:gd name="connsiteX906" fmla="*/ 3398161 w 12305293"/>
              <a:gd name="connsiteY906" fmla="*/ 2817150 h 3722511"/>
              <a:gd name="connsiteX907" fmla="*/ 3401255 w 12305293"/>
              <a:gd name="connsiteY907" fmla="*/ 2816234 h 3722511"/>
              <a:gd name="connsiteX908" fmla="*/ 3438177 w 12305293"/>
              <a:gd name="connsiteY908" fmla="*/ 2804991 h 3722511"/>
              <a:gd name="connsiteX909" fmla="*/ 3439784 w 12305293"/>
              <a:gd name="connsiteY909" fmla="*/ 2804832 h 3722511"/>
              <a:gd name="connsiteX910" fmla="*/ 3440188 w 12305293"/>
              <a:gd name="connsiteY910" fmla="*/ 2804713 h 3722511"/>
              <a:gd name="connsiteX911" fmla="*/ 3484655 w 12305293"/>
              <a:gd name="connsiteY911" fmla="*/ 2800400 h 3722511"/>
              <a:gd name="connsiteX912" fmla="*/ 3484655 w 12305293"/>
              <a:gd name="connsiteY912" fmla="*/ 2800401 h 3722511"/>
              <a:gd name="connsiteX913" fmla="*/ 3484691 w 12305293"/>
              <a:gd name="connsiteY913" fmla="*/ 2800398 h 3722511"/>
              <a:gd name="connsiteX914" fmla="*/ 3733345 w 12305293"/>
              <a:gd name="connsiteY914" fmla="*/ 3035572 h 3722511"/>
              <a:gd name="connsiteX915" fmla="*/ 3847868 w 12305293"/>
              <a:gd name="connsiteY915" fmla="*/ 3035572 h 3722511"/>
              <a:gd name="connsiteX916" fmla="*/ 3883174 w 12305293"/>
              <a:gd name="connsiteY916" fmla="*/ 3035572 h 3722511"/>
              <a:gd name="connsiteX917" fmla="*/ 3883174 w 12305293"/>
              <a:gd name="connsiteY917" fmla="*/ 2983115 h 3722511"/>
              <a:gd name="connsiteX918" fmla="*/ 3883174 w 12305293"/>
              <a:gd name="connsiteY918" fmla="*/ 2968827 h 3722511"/>
              <a:gd name="connsiteX919" fmla="*/ 3883174 w 12305293"/>
              <a:gd name="connsiteY919" fmla="*/ 2897387 h 3722511"/>
              <a:gd name="connsiteX920" fmla="*/ 3883174 w 12305293"/>
              <a:gd name="connsiteY920" fmla="*/ 2883099 h 3722511"/>
              <a:gd name="connsiteX921" fmla="*/ 3883174 w 12305293"/>
              <a:gd name="connsiteY921" fmla="*/ 2813247 h 3722511"/>
              <a:gd name="connsiteX922" fmla="*/ 3883174 w 12305293"/>
              <a:gd name="connsiteY922" fmla="*/ 2797371 h 3722511"/>
              <a:gd name="connsiteX923" fmla="*/ 3883174 w 12305293"/>
              <a:gd name="connsiteY923" fmla="*/ 2727519 h 3722511"/>
              <a:gd name="connsiteX924" fmla="*/ 3883174 w 12305293"/>
              <a:gd name="connsiteY924" fmla="*/ 2711643 h 3722511"/>
              <a:gd name="connsiteX925" fmla="*/ 3883174 w 12305293"/>
              <a:gd name="connsiteY925" fmla="*/ 2641791 h 3722511"/>
              <a:gd name="connsiteX926" fmla="*/ 3883174 w 12305293"/>
              <a:gd name="connsiteY926" fmla="*/ 2625915 h 3722511"/>
              <a:gd name="connsiteX927" fmla="*/ 3883174 w 12305293"/>
              <a:gd name="connsiteY927" fmla="*/ 2556063 h 3722511"/>
              <a:gd name="connsiteX928" fmla="*/ 3883174 w 12305293"/>
              <a:gd name="connsiteY928" fmla="*/ 2541775 h 3722511"/>
              <a:gd name="connsiteX929" fmla="*/ 3883196 w 12305293"/>
              <a:gd name="connsiteY929" fmla="*/ 2541775 h 3722511"/>
              <a:gd name="connsiteX930" fmla="*/ 3883196 w 12305293"/>
              <a:gd name="connsiteY930" fmla="*/ 2541774 h 3722511"/>
              <a:gd name="connsiteX931" fmla="*/ 3883174 w 12305293"/>
              <a:gd name="connsiteY931" fmla="*/ 2541774 h 3722511"/>
              <a:gd name="connsiteX932" fmla="*/ 3883174 w 12305293"/>
              <a:gd name="connsiteY932" fmla="*/ 2471922 h 3722511"/>
              <a:gd name="connsiteX933" fmla="*/ 3883174 w 12305293"/>
              <a:gd name="connsiteY933" fmla="*/ 2456046 h 3722511"/>
              <a:gd name="connsiteX934" fmla="*/ 3883174 w 12305293"/>
              <a:gd name="connsiteY934" fmla="*/ 2386194 h 3722511"/>
              <a:gd name="connsiteX935" fmla="*/ 3883174 w 12305293"/>
              <a:gd name="connsiteY935" fmla="*/ 2370318 h 3722511"/>
              <a:gd name="connsiteX936" fmla="*/ 3883174 w 12305293"/>
              <a:gd name="connsiteY936" fmla="*/ 2300466 h 3722511"/>
              <a:gd name="connsiteX937" fmla="*/ 3883174 w 12305293"/>
              <a:gd name="connsiteY937" fmla="*/ 2284590 h 3722511"/>
              <a:gd name="connsiteX938" fmla="*/ 3883174 w 12305293"/>
              <a:gd name="connsiteY938" fmla="*/ 2214738 h 3722511"/>
              <a:gd name="connsiteX939" fmla="*/ 3883174 w 12305293"/>
              <a:gd name="connsiteY939" fmla="*/ 2200450 h 3722511"/>
              <a:gd name="connsiteX940" fmla="*/ 3883174 w 12305293"/>
              <a:gd name="connsiteY940" fmla="*/ 2129010 h 3722511"/>
              <a:gd name="connsiteX941" fmla="*/ 3883174 w 12305293"/>
              <a:gd name="connsiteY941" fmla="*/ 2114722 h 3722511"/>
              <a:gd name="connsiteX942" fmla="*/ 3883196 w 12305293"/>
              <a:gd name="connsiteY942" fmla="*/ 2114722 h 3722511"/>
              <a:gd name="connsiteX943" fmla="*/ 3883196 w 12305293"/>
              <a:gd name="connsiteY943" fmla="*/ 2114721 h 3722511"/>
              <a:gd name="connsiteX944" fmla="*/ 3883174 w 12305293"/>
              <a:gd name="connsiteY944" fmla="*/ 2114721 h 3722511"/>
              <a:gd name="connsiteX945" fmla="*/ 3883174 w 12305293"/>
              <a:gd name="connsiteY945" fmla="*/ 2044870 h 3722511"/>
              <a:gd name="connsiteX946" fmla="*/ 3883174 w 12305293"/>
              <a:gd name="connsiteY946" fmla="*/ 2044869 h 3722511"/>
              <a:gd name="connsiteX947" fmla="*/ 3883174 w 12305293"/>
              <a:gd name="connsiteY947" fmla="*/ 2028994 h 3722511"/>
              <a:gd name="connsiteX948" fmla="*/ 3883196 w 12305293"/>
              <a:gd name="connsiteY948" fmla="*/ 2028994 h 3722511"/>
              <a:gd name="connsiteX949" fmla="*/ 3883196 w 12305293"/>
              <a:gd name="connsiteY949" fmla="*/ 2028993 h 3722511"/>
              <a:gd name="connsiteX950" fmla="*/ 3883174 w 12305293"/>
              <a:gd name="connsiteY950" fmla="*/ 2028993 h 3722511"/>
              <a:gd name="connsiteX951" fmla="*/ 3883174 w 12305293"/>
              <a:gd name="connsiteY951" fmla="*/ 1959142 h 3722511"/>
              <a:gd name="connsiteX952" fmla="*/ 3883174 w 12305293"/>
              <a:gd name="connsiteY952" fmla="*/ 1959141 h 3722511"/>
              <a:gd name="connsiteX953" fmla="*/ 3883174 w 12305293"/>
              <a:gd name="connsiteY953" fmla="*/ 1943266 h 3722511"/>
              <a:gd name="connsiteX954" fmla="*/ 3883174 w 12305293"/>
              <a:gd name="connsiteY954" fmla="*/ 1873414 h 3722511"/>
              <a:gd name="connsiteX955" fmla="*/ 3883174 w 12305293"/>
              <a:gd name="connsiteY955" fmla="*/ 1873413 h 3722511"/>
              <a:gd name="connsiteX956" fmla="*/ 3883174 w 12305293"/>
              <a:gd name="connsiteY956" fmla="*/ 1857538 h 3722511"/>
              <a:gd name="connsiteX957" fmla="*/ 3883174 w 12305293"/>
              <a:gd name="connsiteY957" fmla="*/ 1787685 h 3722511"/>
              <a:gd name="connsiteX958" fmla="*/ 3883174 w 12305293"/>
              <a:gd name="connsiteY958" fmla="*/ 1773397 h 3722511"/>
              <a:gd name="connsiteX959" fmla="*/ 3883174 w 12305293"/>
              <a:gd name="connsiteY959" fmla="*/ 1703545 h 3722511"/>
              <a:gd name="connsiteX960" fmla="*/ 3883174 w 12305293"/>
              <a:gd name="connsiteY960" fmla="*/ 1687669 h 3722511"/>
              <a:gd name="connsiteX961" fmla="*/ 3883174 w 12305293"/>
              <a:gd name="connsiteY961" fmla="*/ 1617817 h 3722511"/>
              <a:gd name="connsiteX962" fmla="*/ 3883174 w 12305293"/>
              <a:gd name="connsiteY962" fmla="*/ 1601941 h 3722511"/>
              <a:gd name="connsiteX963" fmla="*/ 3883174 w 12305293"/>
              <a:gd name="connsiteY963" fmla="*/ 1532089 h 3722511"/>
              <a:gd name="connsiteX964" fmla="*/ 3883174 w 12305293"/>
              <a:gd name="connsiteY964" fmla="*/ 1532088 h 3722511"/>
              <a:gd name="connsiteX965" fmla="*/ 3883174 w 12305293"/>
              <a:gd name="connsiteY965" fmla="*/ 1516213 h 3722511"/>
              <a:gd name="connsiteX966" fmla="*/ 3883174 w 12305293"/>
              <a:gd name="connsiteY966" fmla="*/ 1446361 h 3722511"/>
              <a:gd name="connsiteX967" fmla="*/ 3883174 w 12305293"/>
              <a:gd name="connsiteY967" fmla="*/ 1446360 h 3722511"/>
              <a:gd name="connsiteX968" fmla="*/ 3883174 w 12305293"/>
              <a:gd name="connsiteY968" fmla="*/ 1432073 h 3722511"/>
              <a:gd name="connsiteX969" fmla="*/ 3883196 w 12305293"/>
              <a:gd name="connsiteY969" fmla="*/ 1432073 h 3722511"/>
              <a:gd name="connsiteX970" fmla="*/ 3883196 w 12305293"/>
              <a:gd name="connsiteY970" fmla="*/ 1432072 h 3722511"/>
              <a:gd name="connsiteX971" fmla="*/ 3883174 w 12305293"/>
              <a:gd name="connsiteY971" fmla="*/ 1432072 h 3722511"/>
              <a:gd name="connsiteX972" fmla="*/ 3883174 w 12305293"/>
              <a:gd name="connsiteY972" fmla="*/ 1376508 h 3722511"/>
              <a:gd name="connsiteX973" fmla="*/ 3883174 w 12305293"/>
              <a:gd name="connsiteY973" fmla="*/ 1349520 h 3722511"/>
              <a:gd name="connsiteX974" fmla="*/ 3883196 w 12305293"/>
              <a:gd name="connsiteY974" fmla="*/ 1349520 h 3722511"/>
              <a:gd name="connsiteX975" fmla="*/ 3883196 w 12305293"/>
              <a:gd name="connsiteY975" fmla="*/ 1349421 h 3722511"/>
              <a:gd name="connsiteX976" fmla="*/ 3951218 w 12305293"/>
              <a:gd name="connsiteY976" fmla="*/ 1349421 h 3722511"/>
              <a:gd name="connsiteX977" fmla="*/ 3951218 w 12305293"/>
              <a:gd name="connsiteY977" fmla="*/ 1257441 h 3722511"/>
              <a:gd name="connsiteX978" fmla="*/ 3951218 w 12305293"/>
              <a:gd name="connsiteY978" fmla="*/ 1230453 h 3722511"/>
              <a:gd name="connsiteX979" fmla="*/ 3951239 w 12305293"/>
              <a:gd name="connsiteY979" fmla="*/ 1230453 h 3722511"/>
              <a:gd name="connsiteX980" fmla="*/ 3951239 w 12305293"/>
              <a:gd name="connsiteY980" fmla="*/ 1230359 h 3722511"/>
              <a:gd name="connsiteX981" fmla="*/ 4007942 w 12305293"/>
              <a:gd name="connsiteY981" fmla="*/ 1230359 h 3722511"/>
              <a:gd name="connsiteX982" fmla="*/ 4010692 w 12305293"/>
              <a:gd name="connsiteY982" fmla="*/ 1226414 h 3722511"/>
              <a:gd name="connsiteX983" fmla="*/ 4137527 w 12305293"/>
              <a:gd name="connsiteY983" fmla="*/ 1041534 h 3722511"/>
              <a:gd name="connsiteX984" fmla="*/ 4139543 w 12305293"/>
              <a:gd name="connsiteY984" fmla="*/ 1041534 h 3722511"/>
              <a:gd name="connsiteX985" fmla="*/ 4139543 w 12305293"/>
              <a:gd name="connsiteY985" fmla="*/ 1041533 h 3722511"/>
              <a:gd name="connsiteX986" fmla="*/ 4137527 w 12305293"/>
              <a:gd name="connsiteY986" fmla="*/ 1041533 h 3722511"/>
              <a:gd name="connsiteX987" fmla="*/ 4095405 w 12305293"/>
              <a:gd name="connsiteY987" fmla="*/ 1041533 h 3722511"/>
              <a:gd name="connsiteX988" fmla="*/ 4095405 w 12305293"/>
              <a:gd name="connsiteY988" fmla="*/ 992319 h 3722511"/>
              <a:gd name="connsiteX989" fmla="*/ 4095426 w 12305293"/>
              <a:gd name="connsiteY989" fmla="*/ 992319 h 3722511"/>
              <a:gd name="connsiteX990" fmla="*/ 4095426 w 12305293"/>
              <a:gd name="connsiteY990" fmla="*/ 992233 h 3722511"/>
              <a:gd name="connsiteX991" fmla="*/ 4178028 w 12305293"/>
              <a:gd name="connsiteY991" fmla="*/ 992233 h 3722511"/>
              <a:gd name="connsiteX992" fmla="*/ 4178028 w 12305293"/>
              <a:gd name="connsiteY992" fmla="*/ 990454 h 3722511"/>
              <a:gd name="connsiteX993" fmla="*/ 4178028 w 12305293"/>
              <a:gd name="connsiteY993" fmla="*/ 858349 h 3722511"/>
              <a:gd name="connsiteX994" fmla="*/ 4178051 w 12305293"/>
              <a:gd name="connsiteY994" fmla="*/ 858349 h 3722511"/>
              <a:gd name="connsiteX995" fmla="*/ 4178051 w 12305293"/>
              <a:gd name="connsiteY995" fmla="*/ 857377 h 3722511"/>
              <a:gd name="connsiteX996" fmla="*/ 4178029 w 12305293"/>
              <a:gd name="connsiteY996" fmla="*/ 857377 h 3722511"/>
              <a:gd name="connsiteX997" fmla="*/ 4153727 w 12305293"/>
              <a:gd name="connsiteY997" fmla="*/ 857377 h 3722511"/>
              <a:gd name="connsiteX998" fmla="*/ 4153727 w 12305293"/>
              <a:gd name="connsiteY998" fmla="*/ 836739 h 3722511"/>
              <a:gd name="connsiteX999" fmla="*/ 4153749 w 12305293"/>
              <a:gd name="connsiteY999" fmla="*/ 836739 h 3722511"/>
              <a:gd name="connsiteX1000" fmla="*/ 4153749 w 12305293"/>
              <a:gd name="connsiteY1000" fmla="*/ 836658 h 3722511"/>
              <a:gd name="connsiteX1001" fmla="*/ 4178028 w 12305293"/>
              <a:gd name="connsiteY1001" fmla="*/ 836658 h 3722511"/>
              <a:gd name="connsiteX1002" fmla="*/ 4178028 w 12305293"/>
              <a:gd name="connsiteY1002" fmla="*/ 834616 h 3722511"/>
              <a:gd name="connsiteX1003" fmla="*/ 4178028 w 12305293"/>
              <a:gd name="connsiteY1003" fmla="*/ 684497 h 3722511"/>
              <a:gd name="connsiteX1004" fmla="*/ 4178051 w 12305293"/>
              <a:gd name="connsiteY1004" fmla="*/ 684497 h 3722511"/>
              <a:gd name="connsiteX1005" fmla="*/ 4178051 w 12305293"/>
              <a:gd name="connsiteY1005" fmla="*/ 684333 h 3722511"/>
              <a:gd name="connsiteX1006" fmla="*/ 4178029 w 12305293"/>
              <a:gd name="connsiteY1006" fmla="*/ 684333 h 3722511"/>
              <a:gd name="connsiteX1007" fmla="*/ 4153727 w 12305293"/>
              <a:gd name="connsiteY1007" fmla="*/ 684333 h 3722511"/>
              <a:gd name="connsiteX1008" fmla="*/ 4153727 w 12305293"/>
              <a:gd name="connsiteY1008" fmla="*/ 663695 h 3722511"/>
              <a:gd name="connsiteX1009" fmla="*/ 4153749 w 12305293"/>
              <a:gd name="connsiteY1009" fmla="*/ 663695 h 3722511"/>
              <a:gd name="connsiteX1010" fmla="*/ 4153749 w 12305293"/>
              <a:gd name="connsiteY1010" fmla="*/ 663620 h 3722511"/>
              <a:gd name="connsiteX1011" fmla="*/ 4178051 w 12305293"/>
              <a:gd name="connsiteY1011" fmla="*/ 663620 h 3722511"/>
              <a:gd name="connsiteX1012" fmla="*/ 4178051 w 12305293"/>
              <a:gd name="connsiteY1012" fmla="*/ 663147 h 3722511"/>
              <a:gd name="connsiteX1013" fmla="*/ 4178028 w 12305293"/>
              <a:gd name="connsiteY1013" fmla="*/ 663147 h 3722511"/>
              <a:gd name="connsiteX1014" fmla="*/ 4178028 w 12305293"/>
              <a:gd name="connsiteY1014" fmla="*/ 560982 h 3722511"/>
              <a:gd name="connsiteX1015" fmla="*/ 4178028 w 12305293"/>
              <a:gd name="connsiteY1015" fmla="*/ 511290 h 3722511"/>
              <a:gd name="connsiteX1016" fmla="*/ 4153727 w 12305293"/>
              <a:gd name="connsiteY1016" fmla="*/ 511290 h 3722511"/>
              <a:gd name="connsiteX1017" fmla="*/ 4153727 w 12305293"/>
              <a:gd name="connsiteY1017" fmla="*/ 489064 h 3722511"/>
              <a:gd name="connsiteX1018" fmla="*/ 4153749 w 12305293"/>
              <a:gd name="connsiteY1018" fmla="*/ 489064 h 3722511"/>
              <a:gd name="connsiteX1019" fmla="*/ 4153749 w 12305293"/>
              <a:gd name="connsiteY1019" fmla="*/ 488994 h 3722511"/>
              <a:gd name="connsiteX1020" fmla="*/ 4178028 w 12305293"/>
              <a:gd name="connsiteY1020" fmla="*/ 488994 h 3722511"/>
              <a:gd name="connsiteX1021" fmla="*/ 4178028 w 12305293"/>
              <a:gd name="connsiteY1021" fmla="*/ 486864 h 3722511"/>
              <a:gd name="connsiteX1022" fmla="*/ 4178028 w 12305293"/>
              <a:gd name="connsiteY1022" fmla="*/ 333743 h 3722511"/>
              <a:gd name="connsiteX1023" fmla="*/ 4178051 w 12305293"/>
              <a:gd name="connsiteY1023" fmla="*/ 333743 h 3722511"/>
              <a:gd name="connsiteX1024" fmla="*/ 4178051 w 12305293"/>
              <a:gd name="connsiteY1024" fmla="*/ 333483 h 3722511"/>
              <a:gd name="connsiteX1025" fmla="*/ 4178029 w 12305293"/>
              <a:gd name="connsiteY1025" fmla="*/ 333483 h 3722511"/>
              <a:gd name="connsiteX1026" fmla="*/ 4153727 w 12305293"/>
              <a:gd name="connsiteY1026" fmla="*/ 333483 h 3722511"/>
              <a:gd name="connsiteX1027" fmla="*/ 4153727 w 12305293"/>
              <a:gd name="connsiteY1027" fmla="*/ 316020 h 3722511"/>
              <a:gd name="connsiteX1028" fmla="*/ 4153749 w 12305293"/>
              <a:gd name="connsiteY1028" fmla="*/ 316020 h 3722511"/>
              <a:gd name="connsiteX1029" fmla="*/ 4153749 w 12305293"/>
              <a:gd name="connsiteY1029" fmla="*/ 315956 h 3722511"/>
              <a:gd name="connsiteX1030" fmla="*/ 4178051 w 12305293"/>
              <a:gd name="connsiteY1030" fmla="*/ 315956 h 3722511"/>
              <a:gd name="connsiteX1031" fmla="*/ 4178051 w 12305293"/>
              <a:gd name="connsiteY1031" fmla="*/ 315443 h 3722511"/>
              <a:gd name="connsiteX1032" fmla="*/ 4178028 w 12305293"/>
              <a:gd name="connsiteY1032" fmla="*/ 315443 h 3722511"/>
              <a:gd name="connsiteX1033" fmla="*/ 4178028 w 12305293"/>
              <a:gd name="connsiteY1033" fmla="*/ 233092 h 3722511"/>
              <a:gd name="connsiteX1034" fmla="*/ 4178051 w 12305293"/>
              <a:gd name="connsiteY1034" fmla="*/ 233071 h 3722511"/>
              <a:gd name="connsiteX1035" fmla="*/ 4178051 w 12305293"/>
              <a:gd name="connsiteY1035" fmla="*/ 233031 h 3722511"/>
              <a:gd name="connsiteX1036" fmla="*/ 4187771 w 12305293"/>
              <a:gd name="connsiteY1036" fmla="*/ 223881 h 3722511"/>
              <a:gd name="connsiteX1037" fmla="*/ 8553199 w 12305293"/>
              <a:gd name="connsiteY1037" fmla="*/ 0 h 3722511"/>
              <a:gd name="connsiteX1038" fmla="*/ 8580741 w 12305293"/>
              <a:gd name="connsiteY1038" fmla="*/ 0 h 3722511"/>
              <a:gd name="connsiteX1039" fmla="*/ 8580741 w 12305293"/>
              <a:gd name="connsiteY1039" fmla="*/ 163512 h 3722511"/>
              <a:gd name="connsiteX1040" fmla="*/ 8608282 w 12305293"/>
              <a:gd name="connsiteY1040" fmla="*/ 163512 h 3722511"/>
              <a:gd name="connsiteX1041" fmla="*/ 8608282 w 12305293"/>
              <a:gd name="connsiteY1041" fmla="*/ 163513 h 3722511"/>
              <a:gd name="connsiteX1042" fmla="*/ 8608282 w 12305293"/>
              <a:gd name="connsiteY1042" fmla="*/ 290512 h 3722511"/>
              <a:gd name="connsiteX1043" fmla="*/ 8608282 w 12305293"/>
              <a:gd name="connsiteY1043" fmla="*/ 301625 h 3722511"/>
              <a:gd name="connsiteX1044" fmla="*/ 8608282 w 12305293"/>
              <a:gd name="connsiteY1044" fmla="*/ 427037 h 3722511"/>
              <a:gd name="connsiteX1045" fmla="*/ 8634203 w 12305293"/>
              <a:gd name="connsiteY1045" fmla="*/ 427037 h 3722511"/>
              <a:gd name="connsiteX1046" fmla="*/ 8634203 w 12305293"/>
              <a:gd name="connsiteY1046" fmla="*/ 549275 h 3722511"/>
              <a:gd name="connsiteX1047" fmla="*/ 8634203 w 12305293"/>
              <a:gd name="connsiteY1047" fmla="*/ 755650 h 3722511"/>
              <a:gd name="connsiteX1048" fmla="*/ 8637443 w 12305293"/>
              <a:gd name="connsiteY1048" fmla="*/ 755650 h 3722511"/>
              <a:gd name="connsiteX1049" fmla="*/ 8655264 w 12305293"/>
              <a:gd name="connsiteY1049" fmla="*/ 755650 h 3722511"/>
              <a:gd name="connsiteX1050" fmla="*/ 8655265 w 12305293"/>
              <a:gd name="connsiteY1050" fmla="*/ 755650 h 3722511"/>
              <a:gd name="connsiteX1051" fmla="*/ 8655265 w 12305293"/>
              <a:gd name="connsiteY1051" fmla="*/ 933450 h 3722511"/>
              <a:gd name="connsiteX1052" fmla="*/ 8655265 w 12305293"/>
              <a:gd name="connsiteY1052" fmla="*/ 1084262 h 3722511"/>
              <a:gd name="connsiteX1053" fmla="*/ 8656884 w 12305293"/>
              <a:gd name="connsiteY1053" fmla="*/ 1084262 h 3722511"/>
              <a:gd name="connsiteX1054" fmla="*/ 8716827 w 12305293"/>
              <a:gd name="connsiteY1054" fmla="*/ 1084262 h 3722511"/>
              <a:gd name="connsiteX1055" fmla="*/ 8716827 w 12305293"/>
              <a:gd name="connsiteY1055" fmla="*/ 1084263 h 3722511"/>
              <a:gd name="connsiteX1056" fmla="*/ 8711967 w 12305293"/>
              <a:gd name="connsiteY1056" fmla="*/ 1447800 h 3722511"/>
              <a:gd name="connsiteX1057" fmla="*/ 8711967 w 12305293"/>
              <a:gd name="connsiteY1057" fmla="*/ 1460500 h 3722511"/>
              <a:gd name="connsiteX1058" fmla="*/ 8711967 w 12305293"/>
              <a:gd name="connsiteY1058" fmla="*/ 1757362 h 3722511"/>
              <a:gd name="connsiteX1059" fmla="*/ 8778390 w 12305293"/>
              <a:gd name="connsiteY1059" fmla="*/ 1757362 h 3722511"/>
              <a:gd name="connsiteX1060" fmla="*/ 8778390 w 12305293"/>
              <a:gd name="connsiteY1060" fmla="*/ 2146891 h 3722511"/>
              <a:gd name="connsiteX1061" fmla="*/ 8780899 w 12305293"/>
              <a:gd name="connsiteY1061" fmla="*/ 2146891 h 3722511"/>
              <a:gd name="connsiteX1062" fmla="*/ 8980115 w 12305293"/>
              <a:gd name="connsiteY1062" fmla="*/ 2146891 h 3722511"/>
              <a:gd name="connsiteX1063" fmla="*/ 8980115 w 12305293"/>
              <a:gd name="connsiteY1063" fmla="*/ 2586156 h 3722511"/>
              <a:gd name="connsiteX1064" fmla="*/ 9033913 w 12305293"/>
              <a:gd name="connsiteY1064" fmla="*/ 2586156 h 3722511"/>
              <a:gd name="connsiteX1065" fmla="*/ 9033913 w 12305293"/>
              <a:gd name="connsiteY1065" fmla="*/ 2960159 h 3722511"/>
              <a:gd name="connsiteX1066" fmla="*/ 9005734 w 12305293"/>
              <a:gd name="connsiteY1066" fmla="*/ 2960159 h 3722511"/>
              <a:gd name="connsiteX1067" fmla="*/ 9005734 w 12305293"/>
              <a:gd name="connsiteY1067" fmla="*/ 2960611 h 3722511"/>
              <a:gd name="connsiteX1068" fmla="*/ 9034385 w 12305293"/>
              <a:gd name="connsiteY1068" fmla="*/ 2960611 h 3722511"/>
              <a:gd name="connsiteX1069" fmla="*/ 9034385 w 12305293"/>
              <a:gd name="connsiteY1069" fmla="*/ 1425611 h 3722511"/>
              <a:gd name="connsiteX1070" fmla="*/ 9034496 w 12305293"/>
              <a:gd name="connsiteY1070" fmla="*/ 1425611 h 3722511"/>
              <a:gd name="connsiteX1071" fmla="*/ 9034496 w 12305293"/>
              <a:gd name="connsiteY1071" fmla="*/ 1402557 h 3722511"/>
              <a:gd name="connsiteX1072" fmla="*/ 9034385 w 12305293"/>
              <a:gd name="connsiteY1072" fmla="*/ 1401799 h 3722511"/>
              <a:gd name="connsiteX1073" fmla="*/ 9034496 w 12305293"/>
              <a:gd name="connsiteY1073" fmla="*/ 1400931 h 3722511"/>
              <a:gd name="connsiteX1074" fmla="*/ 9034496 w 12305293"/>
              <a:gd name="connsiteY1074" fmla="*/ 1377994 h 3722511"/>
              <a:gd name="connsiteX1075" fmla="*/ 9037436 w 12305293"/>
              <a:gd name="connsiteY1075" fmla="*/ 1377994 h 3722511"/>
              <a:gd name="connsiteX1076" fmla="*/ 9046280 w 12305293"/>
              <a:gd name="connsiteY1076" fmla="*/ 1309006 h 3722511"/>
              <a:gd name="connsiteX1077" fmla="*/ 9190908 w 12305293"/>
              <a:gd name="connsiteY1077" fmla="*/ 1137403 h 3722511"/>
              <a:gd name="connsiteX1078" fmla="*/ 9207733 w 12305293"/>
              <a:gd name="connsiteY1078" fmla="*/ 1135068 h 3722511"/>
              <a:gd name="connsiteX1079" fmla="*/ 9207733 w 12305293"/>
              <a:gd name="connsiteY1079" fmla="*/ 893792 h 3722511"/>
              <a:gd name="connsiteX1080" fmla="*/ 9251476 w 12305293"/>
              <a:gd name="connsiteY1080" fmla="*/ 893792 h 3722511"/>
              <a:gd name="connsiteX1081" fmla="*/ 9251476 w 12305293"/>
              <a:gd name="connsiteY1081" fmla="*/ 1134843 h 3722511"/>
              <a:gd name="connsiteX1082" fmla="*/ 9269921 w 12305293"/>
              <a:gd name="connsiteY1082" fmla="*/ 1137403 h 3722511"/>
              <a:gd name="connsiteX1083" fmla="*/ 9414549 w 12305293"/>
              <a:gd name="connsiteY1083" fmla="*/ 1309006 h 3722511"/>
              <a:gd name="connsiteX1084" fmla="*/ 9423392 w 12305293"/>
              <a:gd name="connsiteY1084" fmla="*/ 1377994 h 3722511"/>
              <a:gd name="connsiteX1085" fmla="*/ 9426562 w 12305293"/>
              <a:gd name="connsiteY1085" fmla="*/ 1377994 h 3722511"/>
              <a:gd name="connsiteX1086" fmla="*/ 9426562 w 12305293"/>
              <a:gd name="connsiteY1086" fmla="*/ 1425620 h 3722511"/>
              <a:gd name="connsiteX1087" fmla="*/ 9426444 w 12305293"/>
              <a:gd name="connsiteY1087" fmla="*/ 1425620 h 3722511"/>
              <a:gd name="connsiteX1088" fmla="*/ 9426444 w 12305293"/>
              <a:gd name="connsiteY1088" fmla="*/ 2312557 h 3722511"/>
              <a:gd name="connsiteX1089" fmla="*/ 9427505 w 12305293"/>
              <a:gd name="connsiteY1089" fmla="*/ 2312557 h 3722511"/>
              <a:gd name="connsiteX1090" fmla="*/ 9530896 w 12305293"/>
              <a:gd name="connsiteY1090" fmla="*/ 2312557 h 3722511"/>
              <a:gd name="connsiteX1091" fmla="*/ 9530896 w 12305293"/>
              <a:gd name="connsiteY1091" fmla="*/ 2960159 h 3722511"/>
              <a:gd name="connsiteX1092" fmla="*/ 9486586 w 12305293"/>
              <a:gd name="connsiteY1092" fmla="*/ 2960159 h 3722511"/>
              <a:gd name="connsiteX1093" fmla="*/ 9426444 w 12305293"/>
              <a:gd name="connsiteY1093" fmla="*/ 2960159 h 3722511"/>
              <a:gd name="connsiteX1094" fmla="*/ 9426444 w 12305293"/>
              <a:gd name="connsiteY1094" fmla="*/ 2960611 h 3722511"/>
              <a:gd name="connsiteX1095" fmla="*/ 9531754 w 12305293"/>
              <a:gd name="connsiteY1095" fmla="*/ 2960611 h 3722511"/>
              <a:gd name="connsiteX1096" fmla="*/ 9531754 w 12305293"/>
              <a:gd name="connsiteY1096" fmla="*/ 2932037 h 3722511"/>
              <a:gd name="connsiteX1097" fmla="*/ 9531754 w 12305293"/>
              <a:gd name="connsiteY1097" fmla="*/ 2909812 h 3722511"/>
              <a:gd name="connsiteX1098" fmla="*/ 9531754 w 12305293"/>
              <a:gd name="connsiteY1098" fmla="*/ 2874887 h 3722511"/>
              <a:gd name="connsiteX1099" fmla="*/ 9531754 w 12305293"/>
              <a:gd name="connsiteY1099" fmla="*/ 2854250 h 3722511"/>
              <a:gd name="connsiteX1100" fmla="*/ 9531754 w 12305293"/>
              <a:gd name="connsiteY1100" fmla="*/ 2817738 h 3722511"/>
              <a:gd name="connsiteX1101" fmla="*/ 9531754 w 12305293"/>
              <a:gd name="connsiteY1101" fmla="*/ 2797101 h 3722511"/>
              <a:gd name="connsiteX1102" fmla="*/ 9531754 w 12305293"/>
              <a:gd name="connsiteY1102" fmla="*/ 2759002 h 3722511"/>
              <a:gd name="connsiteX1103" fmla="*/ 9531754 w 12305293"/>
              <a:gd name="connsiteY1103" fmla="*/ 2739952 h 3722511"/>
              <a:gd name="connsiteX1104" fmla="*/ 9531754 w 12305293"/>
              <a:gd name="connsiteY1104" fmla="*/ 2701853 h 3722511"/>
              <a:gd name="connsiteX1105" fmla="*/ 9531754 w 12305293"/>
              <a:gd name="connsiteY1105" fmla="*/ 2681216 h 3722511"/>
              <a:gd name="connsiteX1106" fmla="*/ 9531754 w 12305293"/>
              <a:gd name="connsiteY1106" fmla="*/ 2643117 h 3722511"/>
              <a:gd name="connsiteX1107" fmla="*/ 9531754 w 12305293"/>
              <a:gd name="connsiteY1107" fmla="*/ 2624067 h 3722511"/>
              <a:gd name="connsiteX1108" fmla="*/ 9531754 w 12305293"/>
              <a:gd name="connsiteY1108" fmla="*/ 2585967 h 3722511"/>
              <a:gd name="connsiteX1109" fmla="*/ 9531754 w 12305293"/>
              <a:gd name="connsiteY1109" fmla="*/ 2565330 h 3722511"/>
              <a:gd name="connsiteX1110" fmla="*/ 9531754 w 12305293"/>
              <a:gd name="connsiteY1110" fmla="*/ 2528818 h 3722511"/>
              <a:gd name="connsiteX1111" fmla="*/ 9531754 w 12305293"/>
              <a:gd name="connsiteY1111" fmla="*/ 2508181 h 3722511"/>
              <a:gd name="connsiteX1112" fmla="*/ 9531754 w 12305293"/>
              <a:gd name="connsiteY1112" fmla="*/ 2470082 h 3722511"/>
              <a:gd name="connsiteX1113" fmla="*/ 9531754 w 12305293"/>
              <a:gd name="connsiteY1113" fmla="*/ 2451032 h 3722511"/>
              <a:gd name="connsiteX1114" fmla="*/ 9531754 w 12305293"/>
              <a:gd name="connsiteY1114" fmla="*/ 2412933 h 3722511"/>
              <a:gd name="connsiteX1115" fmla="*/ 9531754 w 12305293"/>
              <a:gd name="connsiteY1115" fmla="*/ 2392296 h 3722511"/>
              <a:gd name="connsiteX1116" fmla="*/ 9531754 w 12305293"/>
              <a:gd name="connsiteY1116" fmla="*/ 2355784 h 3722511"/>
              <a:gd name="connsiteX1117" fmla="*/ 9531754 w 12305293"/>
              <a:gd name="connsiteY1117" fmla="*/ 2335147 h 3722511"/>
              <a:gd name="connsiteX1118" fmla="*/ 9531754 w 12305293"/>
              <a:gd name="connsiteY1118" fmla="*/ 2297047 h 3722511"/>
              <a:gd name="connsiteX1119" fmla="*/ 9531754 w 12305293"/>
              <a:gd name="connsiteY1119" fmla="*/ 2276410 h 3722511"/>
              <a:gd name="connsiteX1120" fmla="*/ 9531754 w 12305293"/>
              <a:gd name="connsiteY1120" fmla="*/ 2239898 h 3722511"/>
              <a:gd name="connsiteX1121" fmla="*/ 9531754 w 12305293"/>
              <a:gd name="connsiteY1121" fmla="*/ 2219261 h 3722511"/>
              <a:gd name="connsiteX1122" fmla="*/ 9531754 w 12305293"/>
              <a:gd name="connsiteY1122" fmla="*/ 2184337 h 3722511"/>
              <a:gd name="connsiteX1123" fmla="*/ 9531754 w 12305293"/>
              <a:gd name="connsiteY1123" fmla="*/ 2162112 h 3722511"/>
              <a:gd name="connsiteX1124" fmla="*/ 9531754 w 12305293"/>
              <a:gd name="connsiteY1124" fmla="*/ 2127188 h 3722511"/>
              <a:gd name="connsiteX1125" fmla="*/ 9531754 w 12305293"/>
              <a:gd name="connsiteY1125" fmla="*/ 2103376 h 3722511"/>
              <a:gd name="connsiteX1126" fmla="*/ 9531754 w 12305293"/>
              <a:gd name="connsiteY1126" fmla="*/ 2041464 h 3722511"/>
              <a:gd name="connsiteX1127" fmla="*/ 9586837 w 12305293"/>
              <a:gd name="connsiteY1127" fmla="*/ 2041464 h 3722511"/>
              <a:gd name="connsiteX1128" fmla="*/ 9586837 w 12305293"/>
              <a:gd name="connsiteY1128" fmla="*/ 2003544 h 3722511"/>
              <a:gd name="connsiteX1129" fmla="*/ 9585197 w 12305293"/>
              <a:gd name="connsiteY1129" fmla="*/ 2003544 h 3722511"/>
              <a:gd name="connsiteX1130" fmla="*/ 9554435 w 12305293"/>
              <a:gd name="connsiteY1130" fmla="*/ 1965981 h 3722511"/>
              <a:gd name="connsiteX1131" fmla="*/ 9659536 w 12305293"/>
              <a:gd name="connsiteY1131" fmla="*/ 1838268 h 3722511"/>
              <a:gd name="connsiteX1132" fmla="*/ 9735237 w 12305293"/>
              <a:gd name="connsiteY1132" fmla="*/ 1838268 h 3722511"/>
              <a:gd name="connsiteX1133" fmla="*/ 9747225 w 12305293"/>
              <a:gd name="connsiteY1133" fmla="*/ 1838268 h 3722511"/>
              <a:gd name="connsiteX1134" fmla="*/ 9747225 w 12305293"/>
              <a:gd name="connsiteY1134" fmla="*/ 1704920 h 3722511"/>
              <a:gd name="connsiteX1135" fmla="*/ 9765046 w 12305293"/>
              <a:gd name="connsiteY1135" fmla="*/ 1704920 h 3722511"/>
              <a:gd name="connsiteX1136" fmla="*/ 9765046 w 12305293"/>
              <a:gd name="connsiteY1136" fmla="*/ 1838268 h 3722511"/>
              <a:gd name="connsiteX1137" fmla="*/ 9779736 w 12305293"/>
              <a:gd name="connsiteY1137" fmla="*/ 1838268 h 3722511"/>
              <a:gd name="connsiteX1138" fmla="*/ 9854356 w 12305293"/>
              <a:gd name="connsiteY1138" fmla="*/ 1838268 h 3722511"/>
              <a:gd name="connsiteX1139" fmla="*/ 9959456 w 12305293"/>
              <a:gd name="connsiteY1139" fmla="*/ 1965981 h 3722511"/>
              <a:gd name="connsiteX1140" fmla="*/ 9928695 w 12305293"/>
              <a:gd name="connsiteY1140" fmla="*/ 2003544 h 3722511"/>
              <a:gd name="connsiteX1141" fmla="*/ 9928674 w 12305293"/>
              <a:gd name="connsiteY1141" fmla="*/ 2003544 h 3722511"/>
              <a:gd name="connsiteX1142" fmla="*/ 9928674 w 12305293"/>
              <a:gd name="connsiteY1142" fmla="*/ 2041464 h 3722511"/>
              <a:gd name="connsiteX1143" fmla="*/ 10027499 w 12305293"/>
              <a:gd name="connsiteY1143" fmla="*/ 2041464 h 3722511"/>
              <a:gd name="connsiteX1144" fmla="*/ 10027499 w 12305293"/>
              <a:gd name="connsiteY1144" fmla="*/ 2103376 h 3722511"/>
              <a:gd name="connsiteX1145" fmla="*/ 10027499 w 12305293"/>
              <a:gd name="connsiteY1145" fmla="*/ 2127188 h 3722511"/>
              <a:gd name="connsiteX1146" fmla="*/ 10027499 w 12305293"/>
              <a:gd name="connsiteY1146" fmla="*/ 2162112 h 3722511"/>
              <a:gd name="connsiteX1147" fmla="*/ 10027499 w 12305293"/>
              <a:gd name="connsiteY1147" fmla="*/ 2184337 h 3722511"/>
              <a:gd name="connsiteX1148" fmla="*/ 10027499 w 12305293"/>
              <a:gd name="connsiteY1148" fmla="*/ 2219261 h 3722511"/>
              <a:gd name="connsiteX1149" fmla="*/ 10027499 w 12305293"/>
              <a:gd name="connsiteY1149" fmla="*/ 2239898 h 3722511"/>
              <a:gd name="connsiteX1150" fmla="*/ 10027499 w 12305293"/>
              <a:gd name="connsiteY1150" fmla="*/ 2276410 h 3722511"/>
              <a:gd name="connsiteX1151" fmla="*/ 10027499 w 12305293"/>
              <a:gd name="connsiteY1151" fmla="*/ 2297047 h 3722511"/>
              <a:gd name="connsiteX1152" fmla="*/ 10027499 w 12305293"/>
              <a:gd name="connsiteY1152" fmla="*/ 2335147 h 3722511"/>
              <a:gd name="connsiteX1153" fmla="*/ 10027499 w 12305293"/>
              <a:gd name="connsiteY1153" fmla="*/ 2355784 h 3722511"/>
              <a:gd name="connsiteX1154" fmla="*/ 10027499 w 12305293"/>
              <a:gd name="connsiteY1154" fmla="*/ 2392296 h 3722511"/>
              <a:gd name="connsiteX1155" fmla="*/ 10027499 w 12305293"/>
              <a:gd name="connsiteY1155" fmla="*/ 2412933 h 3722511"/>
              <a:gd name="connsiteX1156" fmla="*/ 10027499 w 12305293"/>
              <a:gd name="connsiteY1156" fmla="*/ 2451032 h 3722511"/>
              <a:gd name="connsiteX1157" fmla="*/ 10027499 w 12305293"/>
              <a:gd name="connsiteY1157" fmla="*/ 2470082 h 3722511"/>
              <a:gd name="connsiteX1158" fmla="*/ 10027499 w 12305293"/>
              <a:gd name="connsiteY1158" fmla="*/ 2508181 h 3722511"/>
              <a:gd name="connsiteX1159" fmla="*/ 10027499 w 12305293"/>
              <a:gd name="connsiteY1159" fmla="*/ 2528818 h 3722511"/>
              <a:gd name="connsiteX1160" fmla="*/ 10027499 w 12305293"/>
              <a:gd name="connsiteY1160" fmla="*/ 2565330 h 3722511"/>
              <a:gd name="connsiteX1161" fmla="*/ 10027499 w 12305293"/>
              <a:gd name="connsiteY1161" fmla="*/ 2578029 h 3722511"/>
              <a:gd name="connsiteX1162" fmla="*/ 10027499 w 12305293"/>
              <a:gd name="connsiteY1162" fmla="*/ 2585967 h 3722511"/>
              <a:gd name="connsiteX1163" fmla="*/ 10027499 w 12305293"/>
              <a:gd name="connsiteY1163" fmla="*/ 2624067 h 3722511"/>
              <a:gd name="connsiteX1164" fmla="*/ 10027499 w 12305293"/>
              <a:gd name="connsiteY1164" fmla="*/ 2643117 h 3722511"/>
              <a:gd name="connsiteX1165" fmla="*/ 10027499 w 12305293"/>
              <a:gd name="connsiteY1165" fmla="*/ 2681216 h 3722511"/>
              <a:gd name="connsiteX1166" fmla="*/ 10027499 w 12305293"/>
              <a:gd name="connsiteY1166" fmla="*/ 2701853 h 3722511"/>
              <a:gd name="connsiteX1167" fmla="*/ 10027499 w 12305293"/>
              <a:gd name="connsiteY1167" fmla="*/ 2739952 h 3722511"/>
              <a:gd name="connsiteX1168" fmla="*/ 10027499 w 12305293"/>
              <a:gd name="connsiteY1168" fmla="*/ 2759002 h 3722511"/>
              <a:gd name="connsiteX1169" fmla="*/ 10027499 w 12305293"/>
              <a:gd name="connsiteY1169" fmla="*/ 2797101 h 3722511"/>
              <a:gd name="connsiteX1170" fmla="*/ 10027499 w 12305293"/>
              <a:gd name="connsiteY1170" fmla="*/ 2817738 h 3722511"/>
              <a:gd name="connsiteX1171" fmla="*/ 10027499 w 12305293"/>
              <a:gd name="connsiteY1171" fmla="*/ 2854250 h 3722511"/>
              <a:gd name="connsiteX1172" fmla="*/ 10027499 w 12305293"/>
              <a:gd name="connsiteY1172" fmla="*/ 2874887 h 3722511"/>
              <a:gd name="connsiteX1173" fmla="*/ 10027499 w 12305293"/>
              <a:gd name="connsiteY1173" fmla="*/ 2909812 h 3722511"/>
              <a:gd name="connsiteX1174" fmla="*/ 10027499 w 12305293"/>
              <a:gd name="connsiteY1174" fmla="*/ 2932037 h 3722511"/>
              <a:gd name="connsiteX1175" fmla="*/ 10027499 w 12305293"/>
              <a:gd name="connsiteY1175" fmla="*/ 2966961 h 3722511"/>
              <a:gd name="connsiteX1176" fmla="*/ 10027499 w 12305293"/>
              <a:gd name="connsiteY1176" fmla="*/ 2990773 h 3722511"/>
              <a:gd name="connsiteX1177" fmla="*/ 10027499 w 12305293"/>
              <a:gd name="connsiteY1177" fmla="*/ 3025698 h 3722511"/>
              <a:gd name="connsiteX1178" fmla="*/ 10027499 w 12305293"/>
              <a:gd name="connsiteY1178" fmla="*/ 3047923 h 3722511"/>
              <a:gd name="connsiteX1179" fmla="*/ 10027499 w 12305293"/>
              <a:gd name="connsiteY1179" fmla="*/ 3082847 h 3722511"/>
              <a:gd name="connsiteX1180" fmla="*/ 10027499 w 12305293"/>
              <a:gd name="connsiteY1180" fmla="*/ 3103484 h 3722511"/>
              <a:gd name="connsiteX1181" fmla="*/ 10027499 w 12305293"/>
              <a:gd name="connsiteY1181" fmla="*/ 3141583 h 3722511"/>
              <a:gd name="connsiteX1182" fmla="*/ 10027499 w 12305293"/>
              <a:gd name="connsiteY1182" fmla="*/ 3160633 h 3722511"/>
              <a:gd name="connsiteX1183" fmla="*/ 10027499 w 12305293"/>
              <a:gd name="connsiteY1183" fmla="*/ 3198732 h 3722511"/>
              <a:gd name="connsiteX1184" fmla="*/ 10027499 w 12305293"/>
              <a:gd name="connsiteY1184" fmla="*/ 3219369 h 3722511"/>
              <a:gd name="connsiteX1185" fmla="*/ 10027499 w 12305293"/>
              <a:gd name="connsiteY1185" fmla="*/ 3255881 h 3722511"/>
              <a:gd name="connsiteX1186" fmla="*/ 10027499 w 12305293"/>
              <a:gd name="connsiteY1186" fmla="*/ 3276518 h 3722511"/>
              <a:gd name="connsiteX1187" fmla="*/ 10027499 w 12305293"/>
              <a:gd name="connsiteY1187" fmla="*/ 3314618 h 3722511"/>
              <a:gd name="connsiteX1188" fmla="*/ 10027499 w 12305293"/>
              <a:gd name="connsiteY1188" fmla="*/ 3333668 h 3722511"/>
              <a:gd name="connsiteX1189" fmla="*/ 10027499 w 12305293"/>
              <a:gd name="connsiteY1189" fmla="*/ 3371767 h 3722511"/>
              <a:gd name="connsiteX1190" fmla="*/ 10027499 w 12305293"/>
              <a:gd name="connsiteY1190" fmla="*/ 3392404 h 3722511"/>
              <a:gd name="connsiteX1191" fmla="*/ 10027499 w 12305293"/>
              <a:gd name="connsiteY1191" fmla="*/ 3430503 h 3722511"/>
              <a:gd name="connsiteX1192" fmla="*/ 10027499 w 12305293"/>
              <a:gd name="connsiteY1192" fmla="*/ 3449553 h 3722511"/>
              <a:gd name="connsiteX1193" fmla="*/ 10027499 w 12305293"/>
              <a:gd name="connsiteY1193" fmla="*/ 3487652 h 3722511"/>
              <a:gd name="connsiteX1194" fmla="*/ 10027499 w 12305293"/>
              <a:gd name="connsiteY1194" fmla="*/ 3508289 h 3722511"/>
              <a:gd name="connsiteX1195" fmla="*/ 10027499 w 12305293"/>
              <a:gd name="connsiteY1195" fmla="*/ 3544801 h 3722511"/>
              <a:gd name="connsiteX1196" fmla="*/ 10027499 w 12305293"/>
              <a:gd name="connsiteY1196" fmla="*/ 3565438 h 3722511"/>
              <a:gd name="connsiteX1197" fmla="*/ 10027499 w 12305293"/>
              <a:gd name="connsiteY1197" fmla="*/ 3603538 h 3722511"/>
              <a:gd name="connsiteX1198" fmla="*/ 10027499 w 12305293"/>
              <a:gd name="connsiteY1198" fmla="*/ 3622588 h 3722511"/>
              <a:gd name="connsiteX1199" fmla="*/ 10027499 w 12305293"/>
              <a:gd name="connsiteY1199" fmla="*/ 3660687 h 3722511"/>
              <a:gd name="connsiteX1200" fmla="*/ 10027499 w 12305293"/>
              <a:gd name="connsiteY1200" fmla="*/ 3681324 h 3722511"/>
              <a:gd name="connsiteX1201" fmla="*/ 10027499 w 12305293"/>
              <a:gd name="connsiteY1201" fmla="*/ 3717836 h 3722511"/>
              <a:gd name="connsiteX1202" fmla="*/ 10027499 w 12305293"/>
              <a:gd name="connsiteY1202" fmla="*/ 3722511 h 3722511"/>
              <a:gd name="connsiteX1203" fmla="*/ 6016174 w 12305293"/>
              <a:gd name="connsiteY1203" fmla="*/ 3722511 h 3722511"/>
              <a:gd name="connsiteX1204" fmla="*/ 6016174 w 12305293"/>
              <a:gd name="connsiteY1204" fmla="*/ 1812966 h 3722511"/>
              <a:gd name="connsiteX1205" fmla="*/ 6121479 w 12305293"/>
              <a:gd name="connsiteY1205" fmla="*/ 1812966 h 3722511"/>
              <a:gd name="connsiteX1206" fmla="*/ 6856349 w 12305293"/>
              <a:gd name="connsiteY1206" fmla="*/ 2812955 h 3722511"/>
              <a:gd name="connsiteX1207" fmla="*/ 6914185 w 12305293"/>
              <a:gd name="connsiteY1207" fmla="*/ 2953310 h 3722511"/>
              <a:gd name="connsiteX1208" fmla="*/ 6910206 w 12305293"/>
              <a:gd name="connsiteY1208" fmla="*/ 2942588 h 3722511"/>
              <a:gd name="connsiteX1209" fmla="*/ 6974250 w 12305293"/>
              <a:gd name="connsiteY1209" fmla="*/ 2942588 h 3722511"/>
              <a:gd name="connsiteX1210" fmla="*/ 6974250 w 12305293"/>
              <a:gd name="connsiteY1210" fmla="*/ 2623807 h 3722511"/>
              <a:gd name="connsiteX1211" fmla="*/ 6943508 w 12305293"/>
              <a:gd name="connsiteY1211" fmla="*/ 2623807 h 3722511"/>
              <a:gd name="connsiteX1212" fmla="*/ 6943508 w 12305293"/>
              <a:gd name="connsiteY1212" fmla="*/ 2533444 h 3722511"/>
              <a:gd name="connsiteX1213" fmla="*/ 7060210 w 12305293"/>
              <a:gd name="connsiteY1213" fmla="*/ 2533444 h 3722511"/>
              <a:gd name="connsiteX1214" fmla="*/ 7117697 w 12305293"/>
              <a:gd name="connsiteY1214" fmla="*/ 2533444 h 3722511"/>
              <a:gd name="connsiteX1215" fmla="*/ 7121840 w 12305293"/>
              <a:gd name="connsiteY1215" fmla="*/ 2524813 h 3722511"/>
              <a:gd name="connsiteX1216" fmla="*/ 7261033 w 12305293"/>
              <a:gd name="connsiteY1216" fmla="*/ 2299535 h 3722511"/>
              <a:gd name="connsiteX1217" fmla="*/ 7263816 w 12305293"/>
              <a:gd name="connsiteY1217" fmla="*/ 2295970 h 3722511"/>
              <a:gd name="connsiteX1218" fmla="*/ 7263790 w 12305293"/>
              <a:gd name="connsiteY1218" fmla="*/ 2295525 h 3722511"/>
              <a:gd name="connsiteX1219" fmla="*/ 7263973 w 12305293"/>
              <a:gd name="connsiteY1219" fmla="*/ 2295769 h 3722511"/>
              <a:gd name="connsiteX1220" fmla="*/ 7264164 w 12305293"/>
              <a:gd name="connsiteY1220" fmla="*/ 2295525 h 3722511"/>
              <a:gd name="connsiteX1221" fmla="*/ 7264232 w 12305293"/>
              <a:gd name="connsiteY1221" fmla="*/ 2296117 h 3722511"/>
              <a:gd name="connsiteX1222" fmla="*/ 7267234 w 12305293"/>
              <a:gd name="connsiteY1222" fmla="*/ 2300132 h 3722511"/>
              <a:gd name="connsiteX1223" fmla="*/ 7463453 w 12305293"/>
              <a:gd name="connsiteY1223" fmla="*/ 2745744 h 3722511"/>
              <a:gd name="connsiteX1224" fmla="*/ 7477245 w 12305293"/>
              <a:gd name="connsiteY1224" fmla="*/ 2802923 h 3722511"/>
              <a:gd name="connsiteX1225" fmla="*/ 7473795 w 12305293"/>
              <a:gd name="connsiteY1225" fmla="*/ 2784453 h 3722511"/>
              <a:gd name="connsiteX1226" fmla="*/ 7484042 w 12305293"/>
              <a:gd name="connsiteY1226" fmla="*/ 2809554 h 3722511"/>
              <a:gd name="connsiteX1227" fmla="*/ 7558334 w 12305293"/>
              <a:gd name="connsiteY1227" fmla="*/ 2671499 h 3722511"/>
              <a:gd name="connsiteX1228" fmla="*/ 7558334 w 12305293"/>
              <a:gd name="connsiteY1228" fmla="*/ 3283700 h 3722511"/>
              <a:gd name="connsiteX1229" fmla="*/ 7558334 w 12305293"/>
              <a:gd name="connsiteY1229" fmla="*/ 3413966 h 3722511"/>
              <a:gd name="connsiteX1230" fmla="*/ 7558576 w 12305293"/>
              <a:gd name="connsiteY1230" fmla="*/ 3414612 h 3722511"/>
              <a:gd name="connsiteX1231" fmla="*/ 7558576 w 12305293"/>
              <a:gd name="connsiteY1231" fmla="*/ 1941565 h 3722511"/>
              <a:gd name="connsiteX1232" fmla="*/ 7642822 w 12305293"/>
              <a:gd name="connsiteY1232" fmla="*/ 1941565 h 3722511"/>
              <a:gd name="connsiteX1233" fmla="*/ 7642822 w 12305293"/>
              <a:gd name="connsiteY1233" fmla="*/ 1544684 h 3722511"/>
              <a:gd name="connsiteX1234" fmla="*/ 7644279 w 12305293"/>
              <a:gd name="connsiteY1234" fmla="*/ 1544684 h 3722511"/>
              <a:gd name="connsiteX1235" fmla="*/ 7642728 w 12305293"/>
              <a:gd name="connsiteY1235" fmla="*/ 1544514 h 3722511"/>
              <a:gd name="connsiteX1236" fmla="*/ 7704100 w 12305293"/>
              <a:gd name="connsiteY1236" fmla="*/ 1406216 h 3722511"/>
              <a:gd name="connsiteX1237" fmla="*/ 7719443 w 12305293"/>
              <a:gd name="connsiteY1237" fmla="*/ 1217627 h 3722511"/>
              <a:gd name="connsiteX1238" fmla="*/ 7757800 w 12305293"/>
              <a:gd name="connsiteY1238" fmla="*/ 1217627 h 3722511"/>
              <a:gd name="connsiteX1239" fmla="*/ 7788486 w 12305293"/>
              <a:gd name="connsiteY1239" fmla="*/ 1217627 h 3722511"/>
              <a:gd name="connsiteX1240" fmla="*/ 7826845 w 12305293"/>
              <a:gd name="connsiteY1240" fmla="*/ 1217627 h 3722511"/>
              <a:gd name="connsiteX1241" fmla="*/ 7844745 w 12305293"/>
              <a:gd name="connsiteY1241" fmla="*/ 1406216 h 3722511"/>
              <a:gd name="connsiteX1242" fmla="*/ 7903560 w 12305293"/>
              <a:gd name="connsiteY1242" fmla="*/ 1544514 h 3722511"/>
              <a:gd name="connsiteX1243" fmla="*/ 7902009 w 12305293"/>
              <a:gd name="connsiteY1243" fmla="*/ 1544684 h 3722511"/>
              <a:gd name="connsiteX1244" fmla="*/ 7903560 w 12305293"/>
              <a:gd name="connsiteY1244" fmla="*/ 1544684 h 3722511"/>
              <a:gd name="connsiteX1245" fmla="*/ 7903560 w 12305293"/>
              <a:gd name="connsiteY1245" fmla="*/ 1544654 h 3722511"/>
              <a:gd name="connsiteX1246" fmla="*/ 7989425 w 12305293"/>
              <a:gd name="connsiteY1246" fmla="*/ 1544654 h 3722511"/>
              <a:gd name="connsiteX1247" fmla="*/ 7989425 w 12305293"/>
              <a:gd name="connsiteY1247" fmla="*/ 1589104 h 3722511"/>
              <a:gd name="connsiteX1248" fmla="*/ 7989425 w 12305293"/>
              <a:gd name="connsiteY1248" fmla="*/ 1592279 h 3722511"/>
              <a:gd name="connsiteX1249" fmla="*/ 7989425 w 12305293"/>
              <a:gd name="connsiteY1249" fmla="*/ 1635142 h 3722511"/>
              <a:gd name="connsiteX1250" fmla="*/ 7989425 w 12305293"/>
              <a:gd name="connsiteY1250" fmla="*/ 1636729 h 3722511"/>
              <a:gd name="connsiteX1251" fmla="*/ 7989425 w 12305293"/>
              <a:gd name="connsiteY1251" fmla="*/ 1679592 h 3722511"/>
              <a:gd name="connsiteX1252" fmla="*/ 7989425 w 12305293"/>
              <a:gd name="connsiteY1252" fmla="*/ 1682767 h 3722511"/>
              <a:gd name="connsiteX1253" fmla="*/ 7989425 w 12305293"/>
              <a:gd name="connsiteY1253" fmla="*/ 1724042 h 3722511"/>
              <a:gd name="connsiteX1254" fmla="*/ 7989425 w 12305293"/>
              <a:gd name="connsiteY1254" fmla="*/ 1727217 h 3722511"/>
              <a:gd name="connsiteX1255" fmla="*/ 7989425 w 12305293"/>
              <a:gd name="connsiteY1255" fmla="*/ 1770080 h 3722511"/>
              <a:gd name="connsiteX1256" fmla="*/ 7989425 w 12305293"/>
              <a:gd name="connsiteY1256" fmla="*/ 1773255 h 3722511"/>
              <a:gd name="connsiteX1257" fmla="*/ 7989425 w 12305293"/>
              <a:gd name="connsiteY1257" fmla="*/ 1814530 h 3722511"/>
              <a:gd name="connsiteX1258" fmla="*/ 7989425 w 12305293"/>
              <a:gd name="connsiteY1258" fmla="*/ 1817705 h 3722511"/>
              <a:gd name="connsiteX1259" fmla="*/ 7989425 w 12305293"/>
              <a:gd name="connsiteY1259" fmla="*/ 1860568 h 3722511"/>
              <a:gd name="connsiteX1260" fmla="*/ 7989425 w 12305293"/>
              <a:gd name="connsiteY1260" fmla="*/ 1862155 h 3722511"/>
              <a:gd name="connsiteX1261" fmla="*/ 7989425 w 12305293"/>
              <a:gd name="connsiteY1261" fmla="*/ 1903431 h 3722511"/>
              <a:gd name="connsiteX1262" fmla="*/ 7989425 w 12305293"/>
              <a:gd name="connsiteY1262" fmla="*/ 1905018 h 3722511"/>
              <a:gd name="connsiteX1263" fmla="*/ 7989425 w 12305293"/>
              <a:gd name="connsiteY1263" fmla="*/ 1951056 h 3722511"/>
              <a:gd name="connsiteX1264" fmla="*/ 7903660 w 12305293"/>
              <a:gd name="connsiteY1264" fmla="*/ 1951056 h 3722511"/>
              <a:gd name="connsiteX1265" fmla="*/ 7903660 w 12305293"/>
              <a:gd name="connsiteY1265" fmla="*/ 1951090 h 3722511"/>
              <a:gd name="connsiteX1266" fmla="*/ 7989526 w 12305293"/>
              <a:gd name="connsiteY1266" fmla="*/ 1951090 h 3722511"/>
              <a:gd name="connsiteX1267" fmla="*/ 7989526 w 12305293"/>
              <a:gd name="connsiteY1267" fmla="*/ 2437482 h 3722511"/>
              <a:gd name="connsiteX1268" fmla="*/ 8028419 w 12305293"/>
              <a:gd name="connsiteY1268" fmla="*/ 2409823 h 3722511"/>
              <a:gd name="connsiteX1269" fmla="*/ 8075811 w 12305293"/>
              <a:gd name="connsiteY1269" fmla="*/ 2392880 h 3722511"/>
              <a:gd name="connsiteX1270" fmla="*/ 8075811 w 12305293"/>
              <a:gd name="connsiteY1270" fmla="*/ 2199603 h 3722511"/>
              <a:gd name="connsiteX1271" fmla="*/ 8147541 w 12305293"/>
              <a:gd name="connsiteY1271" fmla="*/ 2199603 h 3722511"/>
              <a:gd name="connsiteX1272" fmla="*/ 8147541 w 12305293"/>
              <a:gd name="connsiteY1272" fmla="*/ 2392880 h 3722511"/>
              <a:gd name="connsiteX1273" fmla="*/ 8221832 w 12305293"/>
              <a:gd name="connsiteY1273" fmla="*/ 2425511 h 3722511"/>
              <a:gd name="connsiteX1274" fmla="*/ 8221832 w 12305293"/>
              <a:gd name="connsiteY1274" fmla="*/ 2596196 h 3722511"/>
              <a:gd name="connsiteX1275" fmla="*/ 8221832 w 12305293"/>
              <a:gd name="connsiteY1275" fmla="*/ 2656439 h 3722511"/>
              <a:gd name="connsiteX1276" fmla="*/ 8221832 w 12305293"/>
              <a:gd name="connsiteY1276" fmla="*/ 2701620 h 3722511"/>
              <a:gd name="connsiteX1277" fmla="*/ 8147541 w 12305293"/>
              <a:gd name="connsiteY1277" fmla="*/ 2736761 h 3722511"/>
              <a:gd name="connsiteX1278" fmla="*/ 8147541 w 12305293"/>
              <a:gd name="connsiteY1278" fmla="*/ 2844695 h 3722511"/>
              <a:gd name="connsiteX1279" fmla="*/ 8221832 w 12305293"/>
              <a:gd name="connsiteY1279" fmla="*/ 2844695 h 3722511"/>
              <a:gd name="connsiteX1280" fmla="*/ 8221832 w 12305293"/>
              <a:gd name="connsiteY1280" fmla="*/ 2977730 h 3722511"/>
              <a:gd name="connsiteX1281" fmla="*/ 8196215 w 12305293"/>
              <a:gd name="connsiteY1281" fmla="*/ 2977730 h 3722511"/>
              <a:gd name="connsiteX1282" fmla="*/ 8162911 w 12305293"/>
              <a:gd name="connsiteY1282" fmla="*/ 2977730 h 3722511"/>
              <a:gd name="connsiteX1283" fmla="*/ 8137294 w 12305293"/>
              <a:gd name="connsiteY1283" fmla="*/ 2977730 h 3722511"/>
              <a:gd name="connsiteX1284" fmla="*/ 8119361 w 12305293"/>
              <a:gd name="connsiteY1284" fmla="*/ 2977730 h 3722511"/>
              <a:gd name="connsiteX1285" fmla="*/ 8119361 w 12305293"/>
              <a:gd name="connsiteY1285" fmla="*/ 2978150 h 3722511"/>
              <a:gd name="connsiteX1286" fmla="*/ 8136840 w 12305293"/>
              <a:gd name="connsiteY1286" fmla="*/ 2978150 h 3722511"/>
              <a:gd name="connsiteX1287" fmla="*/ 8162762 w 12305293"/>
              <a:gd name="connsiteY1287" fmla="*/ 2978150 h 3722511"/>
              <a:gd name="connsiteX1288" fmla="*/ 8222704 w 12305293"/>
              <a:gd name="connsiteY1288" fmla="*/ 2978150 h 3722511"/>
              <a:gd name="connsiteX1289" fmla="*/ 8222704 w 12305293"/>
              <a:gd name="connsiteY1289" fmla="*/ 2655887 h 3722511"/>
              <a:gd name="connsiteX1290" fmla="*/ 8222704 w 12305293"/>
              <a:gd name="connsiteY1290" fmla="*/ 2595562 h 3722511"/>
              <a:gd name="connsiteX1291" fmla="*/ 8222704 w 12305293"/>
              <a:gd name="connsiteY1291" fmla="*/ 2205037 h 3722511"/>
              <a:gd name="connsiteX1292" fmla="*/ 8316668 w 12305293"/>
              <a:gd name="connsiteY1292" fmla="*/ 2205037 h 3722511"/>
              <a:gd name="connsiteX1293" fmla="*/ 8316668 w 12305293"/>
              <a:gd name="connsiteY1293" fmla="*/ 1817687 h 3722511"/>
              <a:gd name="connsiteX1294" fmla="*/ 8316668 w 12305293"/>
              <a:gd name="connsiteY1294" fmla="*/ 1757362 h 3722511"/>
              <a:gd name="connsiteX1295" fmla="*/ 8316668 w 12305293"/>
              <a:gd name="connsiteY1295" fmla="*/ 1412875 h 3722511"/>
              <a:gd name="connsiteX1296" fmla="*/ 8391192 w 12305293"/>
              <a:gd name="connsiteY1296" fmla="*/ 1412875 h 3722511"/>
              <a:gd name="connsiteX1297" fmla="*/ 8399292 w 12305293"/>
              <a:gd name="connsiteY1297" fmla="*/ 1412875 h 3722511"/>
              <a:gd name="connsiteX1298" fmla="*/ 8399292 w 12305293"/>
              <a:gd name="connsiteY1298" fmla="*/ 1084262 h 3722511"/>
              <a:gd name="connsiteX1299" fmla="*/ 8399292 w 12305293"/>
              <a:gd name="connsiteY1299" fmla="*/ 933450 h 3722511"/>
              <a:gd name="connsiteX1300" fmla="*/ 8423593 w 12305293"/>
              <a:gd name="connsiteY1300" fmla="*/ 933450 h 3722511"/>
              <a:gd name="connsiteX1301" fmla="*/ 8457615 w 12305293"/>
              <a:gd name="connsiteY1301" fmla="*/ 933450 h 3722511"/>
              <a:gd name="connsiteX1302" fmla="*/ 8470576 w 12305293"/>
              <a:gd name="connsiteY1302" fmla="*/ 933450 h 3722511"/>
              <a:gd name="connsiteX1303" fmla="*/ 8470576 w 12305293"/>
              <a:gd name="connsiteY1303" fmla="*/ 755650 h 3722511"/>
              <a:gd name="connsiteX1304" fmla="*/ 8470576 w 12305293"/>
              <a:gd name="connsiteY1304" fmla="*/ 549275 h 3722511"/>
              <a:gd name="connsiteX1305" fmla="*/ 8485156 w 12305293"/>
              <a:gd name="connsiteY1305" fmla="*/ 549275 h 3722511"/>
              <a:gd name="connsiteX1306" fmla="*/ 8514318 w 12305293"/>
              <a:gd name="connsiteY1306" fmla="*/ 549275 h 3722511"/>
              <a:gd name="connsiteX1307" fmla="*/ 8514318 w 12305293"/>
              <a:gd name="connsiteY1307" fmla="*/ 471487 h 3722511"/>
              <a:gd name="connsiteX1308" fmla="*/ 8514318 w 12305293"/>
              <a:gd name="connsiteY1308" fmla="*/ 427037 h 3722511"/>
              <a:gd name="connsiteX1309" fmla="*/ 8514318 w 12305293"/>
              <a:gd name="connsiteY1309" fmla="*/ 290512 h 3722511"/>
              <a:gd name="connsiteX1310" fmla="*/ 8553199 w 12305293"/>
              <a:gd name="connsiteY1310" fmla="*/ 290512 h 3722511"/>
              <a:gd name="connsiteX1311" fmla="*/ 8553199 w 12305293"/>
              <a:gd name="connsiteY1311" fmla="*/ 163512 h 3722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</a:cxnLst>
            <a:rect l="l" t="t" r="r" b="b"/>
            <a:pathLst>
              <a:path w="12305293" h="3722511">
                <a:moveTo>
                  <a:pt x="4492347" y="3668778"/>
                </a:moveTo>
                <a:lnTo>
                  <a:pt x="4492347" y="3668779"/>
                </a:lnTo>
                <a:lnTo>
                  <a:pt x="4492419" y="3668779"/>
                </a:lnTo>
                <a:lnTo>
                  <a:pt x="4493162" y="3668779"/>
                </a:lnTo>
                <a:lnTo>
                  <a:pt x="4499732" y="3668779"/>
                </a:lnTo>
                <a:lnTo>
                  <a:pt x="4515335" y="3668779"/>
                </a:lnTo>
                <a:lnTo>
                  <a:pt x="4545722" y="3668779"/>
                </a:lnTo>
                <a:lnTo>
                  <a:pt x="4595819" y="3668779"/>
                </a:lnTo>
                <a:lnTo>
                  <a:pt x="4670553" y="3668779"/>
                </a:lnTo>
                <a:lnTo>
                  <a:pt x="4774853" y="3668779"/>
                </a:lnTo>
                <a:lnTo>
                  <a:pt x="4913644" y="3668779"/>
                </a:lnTo>
                <a:lnTo>
                  <a:pt x="5282926" y="3668779"/>
                </a:lnTo>
                <a:lnTo>
                  <a:pt x="5282926" y="3668778"/>
                </a:lnTo>
                <a:lnTo>
                  <a:pt x="4916885" y="3668778"/>
                </a:lnTo>
                <a:lnTo>
                  <a:pt x="4913644" y="3668778"/>
                </a:lnTo>
                <a:lnTo>
                  <a:pt x="4492419" y="3668778"/>
                </a:lnTo>
                <a:close/>
                <a:moveTo>
                  <a:pt x="3055361" y="3644953"/>
                </a:moveTo>
                <a:lnTo>
                  <a:pt x="3055361" y="3703690"/>
                </a:lnTo>
                <a:lnTo>
                  <a:pt x="3065125" y="3703690"/>
                </a:lnTo>
                <a:lnTo>
                  <a:pt x="3065125" y="3703148"/>
                </a:lnTo>
                <a:lnTo>
                  <a:pt x="3065098" y="3703148"/>
                </a:lnTo>
                <a:cubicBezTo>
                  <a:pt x="3065098" y="3703148"/>
                  <a:pt x="3065098" y="3703148"/>
                  <a:pt x="3065098" y="3645226"/>
                </a:cubicBezTo>
                <a:lnTo>
                  <a:pt x="3065125" y="3645226"/>
                </a:lnTo>
                <a:lnTo>
                  <a:pt x="3065125" y="3644953"/>
                </a:lnTo>
                <a:close/>
                <a:moveTo>
                  <a:pt x="8119019" y="3193932"/>
                </a:moveTo>
                <a:lnTo>
                  <a:pt x="8118360" y="3194577"/>
                </a:lnTo>
                <a:cubicBezTo>
                  <a:pt x="8116109" y="3196783"/>
                  <a:pt x="8108792" y="3203953"/>
                  <a:pt x="8085010" y="3227255"/>
                </a:cubicBezTo>
                <a:lnTo>
                  <a:pt x="8055685" y="3255988"/>
                </a:lnTo>
                <a:lnTo>
                  <a:pt x="8055847" y="3255988"/>
                </a:lnTo>
                <a:lnTo>
                  <a:pt x="8119019" y="3194711"/>
                </a:lnTo>
                <a:close/>
                <a:moveTo>
                  <a:pt x="11570066" y="3115784"/>
                </a:moveTo>
                <a:cubicBezTo>
                  <a:pt x="11570066" y="3115784"/>
                  <a:pt x="11570066" y="3115784"/>
                  <a:pt x="11567505" y="3117981"/>
                </a:cubicBezTo>
                <a:lnTo>
                  <a:pt x="11563060" y="3121791"/>
                </a:lnTo>
                <a:lnTo>
                  <a:pt x="11569818" y="3116273"/>
                </a:lnTo>
                <a:lnTo>
                  <a:pt x="11679984" y="3203585"/>
                </a:lnTo>
                <a:lnTo>
                  <a:pt x="11679984" y="3575086"/>
                </a:lnTo>
                <a:lnTo>
                  <a:pt x="11680221" y="3575086"/>
                </a:lnTo>
                <a:lnTo>
                  <a:pt x="11680221" y="3574404"/>
                </a:lnTo>
                <a:cubicBezTo>
                  <a:pt x="11680221" y="3569325"/>
                  <a:pt x="11680221" y="3528693"/>
                  <a:pt x="11680221" y="3203637"/>
                </a:cubicBezTo>
                <a:cubicBezTo>
                  <a:pt x="11680221" y="3203637"/>
                  <a:pt x="11680221" y="3203637"/>
                  <a:pt x="11570066" y="3115784"/>
                </a:cubicBezTo>
                <a:close/>
                <a:moveTo>
                  <a:pt x="3697880" y="3081386"/>
                </a:moveTo>
                <a:lnTo>
                  <a:pt x="3697875" y="3081401"/>
                </a:lnTo>
                <a:lnTo>
                  <a:pt x="3883174" y="3081401"/>
                </a:lnTo>
                <a:lnTo>
                  <a:pt x="3883174" y="3081386"/>
                </a:lnTo>
                <a:lnTo>
                  <a:pt x="3863317" y="3081386"/>
                </a:lnTo>
                <a:cubicBezTo>
                  <a:pt x="3838731" y="3081386"/>
                  <a:pt x="3799394" y="3081386"/>
                  <a:pt x="3736453" y="3081386"/>
                </a:cubicBezTo>
                <a:cubicBezTo>
                  <a:pt x="3736453" y="3081386"/>
                  <a:pt x="3736453" y="3081386"/>
                  <a:pt x="3716784" y="3081386"/>
                </a:cubicBezTo>
                <a:close/>
                <a:moveTo>
                  <a:pt x="6938046" y="3017605"/>
                </a:moveTo>
                <a:lnTo>
                  <a:pt x="6960659" y="3084483"/>
                </a:lnTo>
                <a:lnTo>
                  <a:pt x="6961143" y="3079838"/>
                </a:lnTo>
                <a:close/>
                <a:moveTo>
                  <a:pt x="6984400" y="2912583"/>
                </a:moveTo>
                <a:lnTo>
                  <a:pt x="6981535" y="2923841"/>
                </a:lnTo>
                <a:lnTo>
                  <a:pt x="6980146" y="2934684"/>
                </a:lnTo>
                <a:close/>
                <a:moveTo>
                  <a:pt x="7989526" y="2692114"/>
                </a:moveTo>
                <a:lnTo>
                  <a:pt x="7989526" y="2844695"/>
                </a:lnTo>
                <a:lnTo>
                  <a:pt x="7990072" y="2844695"/>
                </a:lnTo>
                <a:cubicBezTo>
                  <a:pt x="7994155" y="2844695"/>
                  <a:pt x="8010486" y="2844695"/>
                  <a:pt x="8075811" y="2844695"/>
                </a:cubicBezTo>
                <a:cubicBezTo>
                  <a:pt x="8075811" y="2844695"/>
                  <a:pt x="8075811" y="2844695"/>
                  <a:pt x="8075811" y="2734251"/>
                </a:cubicBezTo>
                <a:cubicBezTo>
                  <a:pt x="8059160" y="2730486"/>
                  <a:pt x="8043148" y="2724838"/>
                  <a:pt x="8028419" y="2717622"/>
                </a:cubicBezTo>
                <a:close/>
                <a:moveTo>
                  <a:pt x="3071561" y="2528938"/>
                </a:moveTo>
                <a:lnTo>
                  <a:pt x="3196297" y="2625773"/>
                </a:lnTo>
                <a:lnTo>
                  <a:pt x="3196299" y="2625775"/>
                </a:lnTo>
                <a:lnTo>
                  <a:pt x="3196299" y="2625776"/>
                </a:lnTo>
                <a:lnTo>
                  <a:pt x="3196299" y="2654350"/>
                </a:lnTo>
                <a:lnTo>
                  <a:pt x="3165953" y="2689129"/>
                </a:lnTo>
                <a:lnTo>
                  <a:pt x="3167645" y="2692529"/>
                </a:lnTo>
                <a:cubicBezTo>
                  <a:pt x="3168037" y="2699316"/>
                  <a:pt x="3165693" y="2706102"/>
                  <a:pt x="3161007" y="2712135"/>
                </a:cubicBezTo>
                <a:lnTo>
                  <a:pt x="3136012" y="2742298"/>
                </a:lnTo>
                <a:cubicBezTo>
                  <a:pt x="3129765" y="2746822"/>
                  <a:pt x="3122735" y="2749838"/>
                  <a:pt x="3115705" y="2750215"/>
                </a:cubicBezTo>
                <a:lnTo>
                  <a:pt x="3113426" y="2749327"/>
                </a:lnTo>
                <a:lnTo>
                  <a:pt x="3005140" y="2873426"/>
                </a:lnTo>
                <a:lnTo>
                  <a:pt x="2946823" y="2824213"/>
                </a:lnTo>
                <a:lnTo>
                  <a:pt x="2946823" y="2797226"/>
                </a:lnTo>
                <a:lnTo>
                  <a:pt x="2946823" y="2794051"/>
                </a:lnTo>
                <a:lnTo>
                  <a:pt x="2946823" y="2648001"/>
                </a:lnTo>
                <a:close/>
                <a:moveTo>
                  <a:pt x="6315875" y="2458142"/>
                </a:moveTo>
                <a:cubicBezTo>
                  <a:pt x="6315875" y="2458142"/>
                  <a:pt x="6315875" y="2458142"/>
                  <a:pt x="6464458" y="2535954"/>
                </a:cubicBezTo>
                <a:cubicBezTo>
                  <a:pt x="6464458" y="2535954"/>
                  <a:pt x="6464458" y="2535954"/>
                  <a:pt x="6315875" y="2535954"/>
                </a:cubicBezTo>
                <a:cubicBezTo>
                  <a:pt x="6315875" y="2535954"/>
                  <a:pt x="6315875" y="2535954"/>
                  <a:pt x="6315875" y="2458142"/>
                </a:cubicBezTo>
                <a:close/>
                <a:moveTo>
                  <a:pt x="1155115" y="2386064"/>
                </a:moveTo>
                <a:cubicBezTo>
                  <a:pt x="1320315" y="2386064"/>
                  <a:pt x="1458158" y="2501427"/>
                  <a:pt x="1490024" y="2654788"/>
                </a:cubicBezTo>
                <a:lnTo>
                  <a:pt x="1493718" y="2690879"/>
                </a:lnTo>
                <a:lnTo>
                  <a:pt x="1587686" y="2690879"/>
                </a:lnTo>
                <a:lnTo>
                  <a:pt x="1587686" y="2754379"/>
                </a:lnTo>
                <a:lnTo>
                  <a:pt x="1556890" y="2754379"/>
                </a:lnTo>
                <a:lnTo>
                  <a:pt x="1556890" y="3254429"/>
                </a:lnTo>
                <a:lnTo>
                  <a:pt x="1597376" y="3254429"/>
                </a:lnTo>
                <a:lnTo>
                  <a:pt x="1597376" y="3722511"/>
                </a:lnTo>
                <a:lnTo>
                  <a:pt x="712805" y="3722511"/>
                </a:lnTo>
                <a:lnTo>
                  <a:pt x="712805" y="3254429"/>
                </a:lnTo>
                <a:lnTo>
                  <a:pt x="753308" y="3254429"/>
                </a:lnTo>
                <a:lnTo>
                  <a:pt x="753308" y="2754379"/>
                </a:lnTo>
                <a:lnTo>
                  <a:pt x="725784" y="2754379"/>
                </a:lnTo>
                <a:lnTo>
                  <a:pt x="725783" y="2754379"/>
                </a:lnTo>
                <a:lnTo>
                  <a:pt x="725783" y="2754375"/>
                </a:lnTo>
                <a:lnTo>
                  <a:pt x="725770" y="2754375"/>
                </a:lnTo>
                <a:lnTo>
                  <a:pt x="725770" y="2690875"/>
                </a:lnTo>
                <a:lnTo>
                  <a:pt x="813259" y="2690875"/>
                </a:lnTo>
                <a:lnTo>
                  <a:pt x="813273" y="2690875"/>
                </a:lnTo>
                <a:lnTo>
                  <a:pt x="818269" y="2673636"/>
                </a:lnTo>
                <a:lnTo>
                  <a:pt x="820196" y="2654788"/>
                </a:lnTo>
                <a:lnTo>
                  <a:pt x="833127" y="2622359"/>
                </a:lnTo>
                <a:lnTo>
                  <a:pt x="846192" y="2577292"/>
                </a:lnTo>
                <a:lnTo>
                  <a:pt x="856734" y="2563166"/>
                </a:lnTo>
                <a:lnTo>
                  <a:pt x="862739" y="2548101"/>
                </a:lnTo>
                <a:lnTo>
                  <a:pt x="897349" y="2508748"/>
                </a:lnTo>
                <a:lnTo>
                  <a:pt x="915823" y="2483994"/>
                </a:lnTo>
                <a:lnTo>
                  <a:pt x="926895" y="2475150"/>
                </a:lnTo>
                <a:lnTo>
                  <a:pt x="937650" y="2462916"/>
                </a:lnTo>
                <a:cubicBezTo>
                  <a:pt x="981985" y="2426907"/>
                  <a:pt x="1035679" y="2401682"/>
                  <a:pt x="1094597" y="2391320"/>
                </a:cubicBezTo>
                <a:lnTo>
                  <a:pt x="1145816" y="2386872"/>
                </a:lnTo>
                <a:lnTo>
                  <a:pt x="1145816" y="2386077"/>
                </a:lnTo>
                <a:cubicBezTo>
                  <a:pt x="1148921" y="2386077"/>
                  <a:pt x="1148921" y="2386077"/>
                  <a:pt x="1148921" y="2386077"/>
                </a:cubicBezTo>
                <a:cubicBezTo>
                  <a:pt x="1148921" y="2386077"/>
                  <a:pt x="1148921" y="2386077"/>
                  <a:pt x="1152027" y="2386077"/>
                </a:cubicBezTo>
                <a:lnTo>
                  <a:pt x="1154965" y="2386077"/>
                </a:lnTo>
                <a:close/>
                <a:moveTo>
                  <a:pt x="2565784" y="2202783"/>
                </a:moveTo>
                <a:lnTo>
                  <a:pt x="2578487" y="2225179"/>
                </a:lnTo>
                <a:lnTo>
                  <a:pt x="2603093" y="2264359"/>
                </a:lnTo>
                <a:lnTo>
                  <a:pt x="2610026" y="2272947"/>
                </a:lnTo>
                <a:lnTo>
                  <a:pt x="2642542" y="2310231"/>
                </a:lnTo>
                <a:lnTo>
                  <a:pt x="2642970" y="2306384"/>
                </a:lnTo>
                <a:lnTo>
                  <a:pt x="2650840" y="2211284"/>
                </a:lnTo>
                <a:lnTo>
                  <a:pt x="2646489" y="2210693"/>
                </a:lnTo>
                <a:cubicBezTo>
                  <a:pt x="2643752" y="2210321"/>
                  <a:pt x="2639645" y="2209763"/>
                  <a:pt x="2633487" y="2208925"/>
                </a:cubicBezTo>
                <a:lnTo>
                  <a:pt x="2621182" y="2207253"/>
                </a:lnTo>
                <a:close/>
                <a:moveTo>
                  <a:pt x="10960470" y="2046601"/>
                </a:moveTo>
                <a:lnTo>
                  <a:pt x="10937308" y="2081629"/>
                </a:lnTo>
                <a:cubicBezTo>
                  <a:pt x="10937308" y="2081629"/>
                  <a:pt x="10937308" y="2081629"/>
                  <a:pt x="10937308" y="3014574"/>
                </a:cubicBezTo>
                <a:lnTo>
                  <a:pt x="10937308" y="3133711"/>
                </a:lnTo>
                <a:lnTo>
                  <a:pt x="10937990" y="3134251"/>
                </a:lnTo>
                <a:lnTo>
                  <a:pt x="10937990" y="2081284"/>
                </a:lnTo>
                <a:close/>
                <a:moveTo>
                  <a:pt x="6208575" y="2026397"/>
                </a:moveTo>
                <a:cubicBezTo>
                  <a:pt x="6208575" y="2091682"/>
                  <a:pt x="6208575" y="2536122"/>
                  <a:pt x="6208575" y="2536122"/>
                </a:cubicBezTo>
                <a:cubicBezTo>
                  <a:pt x="6208575" y="2536122"/>
                  <a:pt x="6208575" y="2536122"/>
                  <a:pt x="6597943" y="2536122"/>
                </a:cubicBezTo>
                <a:cubicBezTo>
                  <a:pt x="6597943" y="2536122"/>
                  <a:pt x="6408382" y="2187099"/>
                  <a:pt x="6208575" y="2026397"/>
                </a:cubicBezTo>
                <a:close/>
                <a:moveTo>
                  <a:pt x="11245806" y="1609787"/>
                </a:moveTo>
                <a:lnTo>
                  <a:pt x="11550381" y="2081284"/>
                </a:lnTo>
                <a:lnTo>
                  <a:pt x="11550381" y="2972709"/>
                </a:lnTo>
                <a:lnTo>
                  <a:pt x="11552173" y="2972709"/>
                </a:lnTo>
                <a:cubicBezTo>
                  <a:pt x="11559979" y="2972709"/>
                  <a:pt x="11591200" y="2972709"/>
                  <a:pt x="11716086" y="2972709"/>
                </a:cubicBezTo>
                <a:cubicBezTo>
                  <a:pt x="11716086" y="2972709"/>
                  <a:pt x="11716086" y="2972709"/>
                  <a:pt x="11716086" y="3469088"/>
                </a:cubicBezTo>
                <a:lnTo>
                  <a:pt x="11716086" y="3575086"/>
                </a:lnTo>
                <a:lnTo>
                  <a:pt x="11717206" y="3575086"/>
                </a:lnTo>
                <a:lnTo>
                  <a:pt x="11717206" y="2862263"/>
                </a:lnTo>
                <a:lnTo>
                  <a:pt x="11744266" y="2862263"/>
                </a:lnTo>
                <a:lnTo>
                  <a:pt x="11744266" y="2858069"/>
                </a:lnTo>
                <a:cubicBezTo>
                  <a:pt x="11744266" y="2845480"/>
                  <a:pt x="11744266" y="2795121"/>
                  <a:pt x="11744266" y="2593686"/>
                </a:cubicBezTo>
                <a:cubicBezTo>
                  <a:pt x="11744266" y="2593686"/>
                  <a:pt x="11744266" y="2593686"/>
                  <a:pt x="12059363" y="2593686"/>
                </a:cubicBezTo>
                <a:cubicBezTo>
                  <a:pt x="12059363" y="2593686"/>
                  <a:pt x="12059363" y="2593686"/>
                  <a:pt x="12059363" y="2023897"/>
                </a:cubicBezTo>
                <a:cubicBezTo>
                  <a:pt x="12059363" y="2023897"/>
                  <a:pt x="12059363" y="2023897"/>
                  <a:pt x="12305293" y="2023897"/>
                </a:cubicBezTo>
                <a:cubicBezTo>
                  <a:pt x="12305293" y="2023897"/>
                  <a:pt x="12305293" y="2023897"/>
                  <a:pt x="12305293" y="3577968"/>
                </a:cubicBezTo>
                <a:lnTo>
                  <a:pt x="12305293" y="3722511"/>
                </a:lnTo>
                <a:lnTo>
                  <a:pt x="12213069" y="3722511"/>
                </a:lnTo>
                <a:lnTo>
                  <a:pt x="12213069" y="3713498"/>
                </a:lnTo>
                <a:cubicBezTo>
                  <a:pt x="12213069" y="3693731"/>
                  <a:pt x="12213069" y="3654198"/>
                  <a:pt x="12213069" y="3575130"/>
                </a:cubicBezTo>
                <a:lnTo>
                  <a:pt x="12212958" y="3575130"/>
                </a:lnTo>
                <a:lnTo>
                  <a:pt x="12212958" y="3722511"/>
                </a:lnTo>
                <a:lnTo>
                  <a:pt x="10750299" y="3722511"/>
                </a:lnTo>
                <a:lnTo>
                  <a:pt x="10750299" y="3665739"/>
                </a:lnTo>
                <a:cubicBezTo>
                  <a:pt x="10750299" y="3372154"/>
                  <a:pt x="10750299" y="2963689"/>
                  <a:pt x="10750299" y="2395390"/>
                </a:cubicBezTo>
                <a:cubicBezTo>
                  <a:pt x="10750299" y="2395390"/>
                  <a:pt x="10750299" y="2395390"/>
                  <a:pt x="10834837" y="2440571"/>
                </a:cubicBezTo>
                <a:cubicBezTo>
                  <a:pt x="10834837" y="2440571"/>
                  <a:pt x="10834837" y="2440571"/>
                  <a:pt x="10834837" y="1903413"/>
                </a:cubicBezTo>
                <a:cubicBezTo>
                  <a:pt x="10834837" y="1903413"/>
                  <a:pt x="10834837" y="1903413"/>
                  <a:pt x="10982429" y="1903413"/>
                </a:cubicBezTo>
                <a:lnTo>
                  <a:pt x="11053278" y="1903413"/>
                </a:lnTo>
                <a:lnTo>
                  <a:pt x="11242565" y="1611374"/>
                </a:lnTo>
                <a:lnTo>
                  <a:pt x="11124299" y="2086046"/>
                </a:lnTo>
                <a:lnTo>
                  <a:pt x="11124469" y="2086046"/>
                </a:lnTo>
                <a:lnTo>
                  <a:pt x="11125038" y="2083786"/>
                </a:lnTo>
                <a:cubicBezTo>
                  <a:pt x="11127199" y="2075197"/>
                  <a:pt x="11135845" y="2040840"/>
                  <a:pt x="11170430" y="1903413"/>
                </a:cubicBezTo>
                <a:cubicBezTo>
                  <a:pt x="11170430" y="1903413"/>
                  <a:pt x="11170430" y="1903413"/>
                  <a:pt x="11226788" y="1903413"/>
                </a:cubicBezTo>
                <a:cubicBezTo>
                  <a:pt x="11226788" y="1903413"/>
                  <a:pt x="11226788" y="1903413"/>
                  <a:pt x="11226788" y="1918757"/>
                </a:cubicBezTo>
                <a:lnTo>
                  <a:pt x="11226788" y="1932567"/>
                </a:lnTo>
                <a:lnTo>
                  <a:pt x="11237702" y="1930408"/>
                </a:lnTo>
                <a:cubicBezTo>
                  <a:pt x="11281545" y="1930408"/>
                  <a:pt x="11317086" y="1965235"/>
                  <a:pt x="11317086" y="2008196"/>
                </a:cubicBezTo>
                <a:cubicBezTo>
                  <a:pt x="11317086" y="2051157"/>
                  <a:pt x="11281545" y="2085984"/>
                  <a:pt x="11237702" y="2085984"/>
                </a:cubicBezTo>
                <a:lnTo>
                  <a:pt x="11226788" y="2083825"/>
                </a:lnTo>
                <a:lnTo>
                  <a:pt x="11226788" y="2086046"/>
                </a:lnTo>
                <a:lnTo>
                  <a:pt x="11362452" y="2086046"/>
                </a:lnTo>
                <a:lnTo>
                  <a:pt x="11242565" y="1611374"/>
                </a:lnTo>
                <a:close/>
                <a:moveTo>
                  <a:pt x="7558484" y="1533541"/>
                </a:moveTo>
                <a:lnTo>
                  <a:pt x="7642728" y="1533541"/>
                </a:lnTo>
                <a:lnTo>
                  <a:pt x="7642728" y="1544514"/>
                </a:lnTo>
                <a:lnTo>
                  <a:pt x="7642728" y="1579579"/>
                </a:lnTo>
                <a:lnTo>
                  <a:pt x="7642728" y="1581166"/>
                </a:lnTo>
                <a:lnTo>
                  <a:pt x="7642728" y="1622442"/>
                </a:lnTo>
                <a:lnTo>
                  <a:pt x="7642728" y="1627204"/>
                </a:lnTo>
                <a:lnTo>
                  <a:pt x="7642728" y="1666892"/>
                </a:lnTo>
                <a:lnTo>
                  <a:pt x="7642728" y="1670067"/>
                </a:lnTo>
                <a:lnTo>
                  <a:pt x="7642728" y="1712930"/>
                </a:lnTo>
                <a:lnTo>
                  <a:pt x="7642728" y="1714517"/>
                </a:lnTo>
                <a:lnTo>
                  <a:pt x="7642728" y="1757380"/>
                </a:lnTo>
                <a:lnTo>
                  <a:pt x="7642728" y="1760555"/>
                </a:lnTo>
                <a:lnTo>
                  <a:pt x="7642728" y="1803418"/>
                </a:lnTo>
                <a:lnTo>
                  <a:pt x="7642728" y="1805005"/>
                </a:lnTo>
                <a:lnTo>
                  <a:pt x="7642728" y="1847868"/>
                </a:lnTo>
                <a:lnTo>
                  <a:pt x="7642728" y="1851043"/>
                </a:lnTo>
                <a:lnTo>
                  <a:pt x="7642728" y="1892318"/>
                </a:lnTo>
                <a:lnTo>
                  <a:pt x="7642728" y="1895493"/>
                </a:lnTo>
                <a:lnTo>
                  <a:pt x="7642728" y="1941531"/>
                </a:lnTo>
                <a:lnTo>
                  <a:pt x="7558484" y="1941531"/>
                </a:lnTo>
                <a:lnTo>
                  <a:pt x="7558484" y="1895493"/>
                </a:lnTo>
                <a:lnTo>
                  <a:pt x="7558484" y="1892318"/>
                </a:lnTo>
                <a:lnTo>
                  <a:pt x="7558484" y="1851043"/>
                </a:lnTo>
                <a:lnTo>
                  <a:pt x="7558484" y="1847868"/>
                </a:lnTo>
                <a:lnTo>
                  <a:pt x="7558484" y="1805005"/>
                </a:lnTo>
                <a:lnTo>
                  <a:pt x="7558484" y="1803418"/>
                </a:lnTo>
                <a:lnTo>
                  <a:pt x="7558484" y="1760555"/>
                </a:lnTo>
                <a:lnTo>
                  <a:pt x="7558484" y="1757380"/>
                </a:lnTo>
                <a:lnTo>
                  <a:pt x="7558484" y="1714517"/>
                </a:lnTo>
                <a:lnTo>
                  <a:pt x="7558484" y="1712930"/>
                </a:lnTo>
                <a:lnTo>
                  <a:pt x="7558484" y="1670067"/>
                </a:lnTo>
                <a:lnTo>
                  <a:pt x="7558484" y="1666892"/>
                </a:lnTo>
                <a:lnTo>
                  <a:pt x="7558484" y="1627204"/>
                </a:lnTo>
                <a:lnTo>
                  <a:pt x="7558484" y="1622442"/>
                </a:lnTo>
                <a:lnTo>
                  <a:pt x="7558484" y="1581166"/>
                </a:lnTo>
                <a:lnTo>
                  <a:pt x="7558484" y="1579579"/>
                </a:lnTo>
                <a:close/>
                <a:moveTo>
                  <a:pt x="1989231" y="1441086"/>
                </a:moveTo>
                <a:lnTo>
                  <a:pt x="1988695" y="1452607"/>
                </a:lnTo>
                <a:lnTo>
                  <a:pt x="1988961" y="1446877"/>
                </a:lnTo>
                <a:close/>
                <a:moveTo>
                  <a:pt x="1990194" y="1420396"/>
                </a:moveTo>
                <a:lnTo>
                  <a:pt x="1989661" y="1431892"/>
                </a:lnTo>
                <a:lnTo>
                  <a:pt x="1989231" y="1441086"/>
                </a:lnTo>
                <a:close/>
                <a:moveTo>
                  <a:pt x="6080978" y="1368460"/>
                </a:moveTo>
                <a:lnTo>
                  <a:pt x="6121479" y="1368460"/>
                </a:lnTo>
                <a:lnTo>
                  <a:pt x="6121479" y="1812965"/>
                </a:lnTo>
                <a:lnTo>
                  <a:pt x="6080978" y="1812965"/>
                </a:lnTo>
                <a:close/>
                <a:moveTo>
                  <a:pt x="469822" y="1366890"/>
                </a:moveTo>
                <a:cubicBezTo>
                  <a:pt x="469822" y="1366890"/>
                  <a:pt x="469822" y="1366890"/>
                  <a:pt x="539484" y="1366890"/>
                </a:cubicBezTo>
                <a:lnTo>
                  <a:pt x="539484" y="1369942"/>
                </a:lnTo>
                <a:cubicBezTo>
                  <a:pt x="539484" y="1369942"/>
                  <a:pt x="539484" y="1369942"/>
                  <a:pt x="469822" y="1369942"/>
                </a:cubicBezTo>
                <a:cubicBezTo>
                  <a:pt x="469822" y="1369942"/>
                  <a:pt x="469822" y="1369942"/>
                  <a:pt x="469822" y="1366890"/>
                </a:cubicBezTo>
                <a:close/>
                <a:moveTo>
                  <a:pt x="1993028" y="1359587"/>
                </a:moveTo>
                <a:lnTo>
                  <a:pt x="1991020" y="1402711"/>
                </a:lnTo>
                <a:lnTo>
                  <a:pt x="1990194" y="1420396"/>
                </a:lnTo>
                <a:close/>
                <a:moveTo>
                  <a:pt x="10238104" y="1343060"/>
                </a:moveTo>
                <a:lnTo>
                  <a:pt x="10279980" y="1343060"/>
                </a:lnTo>
                <a:lnTo>
                  <a:pt x="10330452" y="1343060"/>
                </a:lnTo>
                <a:cubicBezTo>
                  <a:pt x="10410779" y="1343060"/>
                  <a:pt x="10456679" y="1343060"/>
                  <a:pt x="10482908" y="1343060"/>
                </a:cubicBezTo>
                <a:lnTo>
                  <a:pt x="10492457" y="1343060"/>
                </a:lnTo>
                <a:lnTo>
                  <a:pt x="10503127" y="1343060"/>
                </a:lnTo>
                <a:cubicBezTo>
                  <a:pt x="10517881" y="1343060"/>
                  <a:pt x="10517881" y="1343060"/>
                  <a:pt x="10517881" y="1343060"/>
                </a:cubicBezTo>
                <a:lnTo>
                  <a:pt x="10707928" y="1343060"/>
                </a:lnTo>
                <a:lnTo>
                  <a:pt x="10685970" y="2282834"/>
                </a:lnTo>
                <a:lnTo>
                  <a:pt x="10717657" y="2282834"/>
                </a:lnTo>
                <a:lnTo>
                  <a:pt x="10750058" y="2282834"/>
                </a:lnTo>
                <a:lnTo>
                  <a:pt x="10750058" y="3722511"/>
                </a:lnTo>
                <a:lnTo>
                  <a:pt x="10027880" y="3722511"/>
                </a:lnTo>
                <a:lnTo>
                  <a:pt x="10027880" y="3718205"/>
                </a:lnTo>
                <a:cubicBezTo>
                  <a:pt x="10027880" y="3718205"/>
                  <a:pt x="10027880" y="3718205"/>
                  <a:pt x="10027880" y="3680554"/>
                </a:cubicBezTo>
                <a:cubicBezTo>
                  <a:pt x="10027880" y="3680554"/>
                  <a:pt x="10027880" y="3680554"/>
                  <a:pt x="10027880" y="3660473"/>
                </a:cubicBezTo>
                <a:cubicBezTo>
                  <a:pt x="10027880" y="3660473"/>
                  <a:pt x="10027880" y="3660473"/>
                  <a:pt x="10027880" y="3622822"/>
                </a:cubicBezTo>
                <a:cubicBezTo>
                  <a:pt x="10027880" y="3622822"/>
                  <a:pt x="10027880" y="3622822"/>
                  <a:pt x="10027880" y="3602741"/>
                </a:cubicBezTo>
                <a:cubicBezTo>
                  <a:pt x="10027880" y="3602741"/>
                  <a:pt x="10027880" y="3602741"/>
                  <a:pt x="10027880" y="3565090"/>
                </a:cubicBezTo>
                <a:cubicBezTo>
                  <a:pt x="10027880" y="3565090"/>
                  <a:pt x="10027880" y="3565090"/>
                  <a:pt x="10027880" y="3545009"/>
                </a:cubicBezTo>
                <a:cubicBezTo>
                  <a:pt x="10027880" y="3545009"/>
                  <a:pt x="10027880" y="3545009"/>
                  <a:pt x="10027880" y="3507358"/>
                </a:cubicBezTo>
                <a:cubicBezTo>
                  <a:pt x="10027880" y="3507358"/>
                  <a:pt x="10027880" y="3507358"/>
                  <a:pt x="10027880" y="3487277"/>
                </a:cubicBezTo>
                <a:cubicBezTo>
                  <a:pt x="10027880" y="3487277"/>
                  <a:pt x="10027880" y="3487277"/>
                  <a:pt x="10027880" y="3449626"/>
                </a:cubicBezTo>
                <a:cubicBezTo>
                  <a:pt x="10027880" y="3449626"/>
                  <a:pt x="10027880" y="3449626"/>
                  <a:pt x="10027880" y="3429545"/>
                </a:cubicBezTo>
                <a:cubicBezTo>
                  <a:pt x="10027880" y="3429545"/>
                  <a:pt x="10027880" y="3429545"/>
                  <a:pt x="10027880" y="3391894"/>
                </a:cubicBezTo>
                <a:cubicBezTo>
                  <a:pt x="10027880" y="3391894"/>
                  <a:pt x="10027880" y="3391894"/>
                  <a:pt x="10027880" y="3371813"/>
                </a:cubicBezTo>
                <a:cubicBezTo>
                  <a:pt x="10027880" y="3371813"/>
                  <a:pt x="10027880" y="3371813"/>
                  <a:pt x="10027880" y="3334162"/>
                </a:cubicBezTo>
                <a:cubicBezTo>
                  <a:pt x="10027880" y="3334162"/>
                  <a:pt x="10027880" y="3334162"/>
                  <a:pt x="10027880" y="3314081"/>
                </a:cubicBezTo>
                <a:cubicBezTo>
                  <a:pt x="10027880" y="3314081"/>
                  <a:pt x="10027880" y="3314081"/>
                  <a:pt x="10027880" y="3276430"/>
                </a:cubicBezTo>
                <a:cubicBezTo>
                  <a:pt x="10027880" y="3276430"/>
                  <a:pt x="10027880" y="3276430"/>
                  <a:pt x="10027880" y="3256349"/>
                </a:cubicBezTo>
                <a:cubicBezTo>
                  <a:pt x="10027880" y="3256349"/>
                  <a:pt x="10027880" y="3256349"/>
                  <a:pt x="10027880" y="3218698"/>
                </a:cubicBezTo>
                <a:cubicBezTo>
                  <a:pt x="10027880" y="3218698"/>
                  <a:pt x="10027880" y="3218698"/>
                  <a:pt x="10027880" y="3198617"/>
                </a:cubicBezTo>
                <a:cubicBezTo>
                  <a:pt x="10027880" y="3198617"/>
                  <a:pt x="10027880" y="3198617"/>
                  <a:pt x="10027880" y="3160966"/>
                </a:cubicBezTo>
                <a:cubicBezTo>
                  <a:pt x="10027880" y="3160966"/>
                  <a:pt x="10027880" y="3160966"/>
                  <a:pt x="10027880" y="3140885"/>
                </a:cubicBezTo>
                <a:cubicBezTo>
                  <a:pt x="10027880" y="3140885"/>
                  <a:pt x="10027880" y="3140885"/>
                  <a:pt x="10027880" y="3103234"/>
                </a:cubicBezTo>
                <a:cubicBezTo>
                  <a:pt x="10027880" y="3103234"/>
                  <a:pt x="10027880" y="3103234"/>
                  <a:pt x="10027880" y="3083153"/>
                </a:cubicBezTo>
                <a:cubicBezTo>
                  <a:pt x="10027880" y="3083153"/>
                  <a:pt x="10027880" y="3083153"/>
                  <a:pt x="10027880" y="3048012"/>
                </a:cubicBezTo>
                <a:cubicBezTo>
                  <a:pt x="10027880" y="3048012"/>
                  <a:pt x="10027880" y="3048012"/>
                  <a:pt x="10027880" y="3025421"/>
                </a:cubicBezTo>
                <a:cubicBezTo>
                  <a:pt x="10027880" y="3025421"/>
                  <a:pt x="10027880" y="3025421"/>
                  <a:pt x="10027880" y="2990280"/>
                </a:cubicBezTo>
                <a:cubicBezTo>
                  <a:pt x="10027880" y="2990280"/>
                  <a:pt x="10027880" y="2990280"/>
                  <a:pt x="10027880" y="2967689"/>
                </a:cubicBezTo>
                <a:cubicBezTo>
                  <a:pt x="10027880" y="2967689"/>
                  <a:pt x="10027880" y="2967689"/>
                  <a:pt x="10027880" y="2932548"/>
                </a:cubicBezTo>
                <a:cubicBezTo>
                  <a:pt x="10027880" y="2932548"/>
                  <a:pt x="10027880" y="2932548"/>
                  <a:pt x="10027880" y="2909957"/>
                </a:cubicBezTo>
                <a:cubicBezTo>
                  <a:pt x="10027880" y="2909957"/>
                  <a:pt x="10027880" y="2909957"/>
                  <a:pt x="10027880" y="2874816"/>
                </a:cubicBezTo>
                <a:cubicBezTo>
                  <a:pt x="10027880" y="2874816"/>
                  <a:pt x="10027880" y="2874816"/>
                  <a:pt x="10027880" y="2854735"/>
                </a:cubicBezTo>
                <a:cubicBezTo>
                  <a:pt x="10027880" y="2854735"/>
                  <a:pt x="10027880" y="2854735"/>
                  <a:pt x="10027880" y="2817084"/>
                </a:cubicBezTo>
                <a:cubicBezTo>
                  <a:pt x="10027880" y="2817084"/>
                  <a:pt x="10027880" y="2817084"/>
                  <a:pt x="10027880" y="2797003"/>
                </a:cubicBezTo>
                <a:cubicBezTo>
                  <a:pt x="10027880" y="2797003"/>
                  <a:pt x="10027880" y="2797003"/>
                  <a:pt x="10027880" y="2759352"/>
                </a:cubicBezTo>
                <a:cubicBezTo>
                  <a:pt x="10027880" y="2759352"/>
                  <a:pt x="10027880" y="2759352"/>
                  <a:pt x="10027880" y="2739271"/>
                </a:cubicBezTo>
                <a:cubicBezTo>
                  <a:pt x="10027880" y="2739271"/>
                  <a:pt x="10027880" y="2739271"/>
                  <a:pt x="10027880" y="2701620"/>
                </a:cubicBezTo>
                <a:cubicBezTo>
                  <a:pt x="10027880" y="2701620"/>
                  <a:pt x="10027880" y="2701620"/>
                  <a:pt x="10027880" y="2681539"/>
                </a:cubicBezTo>
                <a:cubicBezTo>
                  <a:pt x="10027880" y="2681539"/>
                  <a:pt x="10027880" y="2681539"/>
                  <a:pt x="10027880" y="2643888"/>
                </a:cubicBezTo>
                <a:cubicBezTo>
                  <a:pt x="10027880" y="2643888"/>
                  <a:pt x="10027880" y="2643888"/>
                  <a:pt x="10027880" y="2623807"/>
                </a:cubicBezTo>
                <a:cubicBezTo>
                  <a:pt x="10027880" y="2623807"/>
                  <a:pt x="10027880" y="2623807"/>
                  <a:pt x="10027880" y="2586156"/>
                </a:cubicBezTo>
                <a:cubicBezTo>
                  <a:pt x="10027880" y="2586156"/>
                  <a:pt x="10027880" y="2586156"/>
                  <a:pt x="10027880" y="2578626"/>
                </a:cubicBezTo>
                <a:cubicBezTo>
                  <a:pt x="10027880" y="2578626"/>
                  <a:pt x="10027880" y="2578626"/>
                  <a:pt x="10035566" y="2578626"/>
                </a:cubicBezTo>
                <a:cubicBezTo>
                  <a:pt x="10035566" y="2578626"/>
                  <a:pt x="10035566" y="2578626"/>
                  <a:pt x="10035566" y="2350208"/>
                </a:cubicBezTo>
                <a:cubicBezTo>
                  <a:pt x="10035566" y="2350208"/>
                  <a:pt x="10035566" y="2350208"/>
                  <a:pt x="10094486" y="2382839"/>
                </a:cubicBezTo>
                <a:cubicBezTo>
                  <a:pt x="10107295" y="2566075"/>
                  <a:pt x="10122665" y="2776923"/>
                  <a:pt x="10140597" y="3012871"/>
                </a:cubicBezTo>
                <a:cubicBezTo>
                  <a:pt x="10147002" y="3096645"/>
                  <a:pt x="10153206" y="3176850"/>
                  <a:pt x="10159206" y="3253555"/>
                </a:cubicBezTo>
                <a:lnTo>
                  <a:pt x="10165424" y="3332163"/>
                </a:lnTo>
                <a:lnTo>
                  <a:pt x="10166626" y="3332163"/>
                </a:lnTo>
                <a:lnTo>
                  <a:pt x="10157514" y="3217332"/>
                </a:lnTo>
                <a:cubicBezTo>
                  <a:pt x="10152353" y="3151621"/>
                  <a:pt x="10147047" y="3083402"/>
                  <a:pt x="10141602" y="3012633"/>
                </a:cubicBezTo>
                <a:cubicBezTo>
                  <a:pt x="10054475" y="1880336"/>
                  <a:pt x="10033975" y="1355613"/>
                  <a:pt x="10033975" y="1355613"/>
                </a:cubicBezTo>
                <a:cubicBezTo>
                  <a:pt x="10033975" y="1355613"/>
                  <a:pt x="10033975" y="1355613"/>
                  <a:pt x="10198779" y="1347203"/>
                </a:cubicBezTo>
                <a:lnTo>
                  <a:pt x="10238237" y="1345190"/>
                </a:lnTo>
                <a:close/>
                <a:moveTo>
                  <a:pt x="1994366" y="1330892"/>
                </a:moveTo>
                <a:lnTo>
                  <a:pt x="1993028" y="1359587"/>
                </a:lnTo>
                <a:lnTo>
                  <a:pt x="1993260" y="1354601"/>
                </a:lnTo>
                <a:close/>
                <a:moveTo>
                  <a:pt x="1995072" y="1315726"/>
                </a:moveTo>
                <a:lnTo>
                  <a:pt x="1994366" y="1330892"/>
                </a:lnTo>
                <a:lnTo>
                  <a:pt x="1994877" y="1319899"/>
                </a:lnTo>
                <a:close/>
                <a:moveTo>
                  <a:pt x="7742458" y="1257859"/>
                </a:moveTo>
                <a:cubicBezTo>
                  <a:pt x="7742458" y="1257859"/>
                  <a:pt x="7742458" y="1257859"/>
                  <a:pt x="7742458" y="1280490"/>
                </a:cubicBezTo>
                <a:cubicBezTo>
                  <a:pt x="7742458" y="1280490"/>
                  <a:pt x="7742458" y="1280490"/>
                  <a:pt x="7803830" y="1280490"/>
                </a:cubicBezTo>
                <a:lnTo>
                  <a:pt x="7803830" y="1257859"/>
                </a:lnTo>
                <a:cubicBezTo>
                  <a:pt x="7803830" y="1257859"/>
                  <a:pt x="7803830" y="1257859"/>
                  <a:pt x="7742458" y="1257859"/>
                </a:cubicBezTo>
                <a:close/>
                <a:moveTo>
                  <a:pt x="2001078" y="1186842"/>
                </a:moveTo>
                <a:lnTo>
                  <a:pt x="1996607" y="1282831"/>
                </a:lnTo>
                <a:lnTo>
                  <a:pt x="1995072" y="1315726"/>
                </a:lnTo>
                <a:lnTo>
                  <a:pt x="1999545" y="1219737"/>
                </a:lnTo>
                <a:close/>
                <a:moveTo>
                  <a:pt x="2001785" y="1171676"/>
                </a:moveTo>
                <a:lnTo>
                  <a:pt x="2001078" y="1186842"/>
                </a:lnTo>
                <a:lnTo>
                  <a:pt x="2001271" y="1182669"/>
                </a:lnTo>
                <a:close/>
                <a:moveTo>
                  <a:pt x="2003121" y="1142981"/>
                </a:moveTo>
                <a:lnTo>
                  <a:pt x="2002889" y="1147967"/>
                </a:lnTo>
                <a:lnTo>
                  <a:pt x="2001785" y="1171676"/>
                </a:lnTo>
                <a:close/>
                <a:moveTo>
                  <a:pt x="262344" y="1113683"/>
                </a:moveTo>
                <a:lnTo>
                  <a:pt x="261655" y="1116779"/>
                </a:lnTo>
                <a:lnTo>
                  <a:pt x="261674" y="1116690"/>
                </a:lnTo>
                <a:close/>
                <a:moveTo>
                  <a:pt x="267151" y="1092123"/>
                </a:moveTo>
                <a:lnTo>
                  <a:pt x="262344" y="1113683"/>
                </a:lnTo>
                <a:lnTo>
                  <a:pt x="263380" y="1109036"/>
                </a:lnTo>
                <a:close/>
                <a:moveTo>
                  <a:pt x="270308" y="1077963"/>
                </a:moveTo>
                <a:lnTo>
                  <a:pt x="268012" y="1088260"/>
                </a:lnTo>
                <a:lnTo>
                  <a:pt x="267151" y="1092123"/>
                </a:lnTo>
                <a:close/>
                <a:moveTo>
                  <a:pt x="272169" y="1069613"/>
                </a:moveTo>
                <a:lnTo>
                  <a:pt x="270308" y="1077963"/>
                </a:lnTo>
                <a:lnTo>
                  <a:pt x="270449" y="1077325"/>
                </a:lnTo>
                <a:close/>
                <a:moveTo>
                  <a:pt x="276117" y="1051901"/>
                </a:moveTo>
                <a:lnTo>
                  <a:pt x="272169" y="1069613"/>
                </a:lnTo>
                <a:lnTo>
                  <a:pt x="275081" y="1056549"/>
                </a:lnTo>
                <a:close/>
                <a:moveTo>
                  <a:pt x="277031" y="1047801"/>
                </a:moveTo>
                <a:lnTo>
                  <a:pt x="276117" y="1051901"/>
                </a:lnTo>
                <a:lnTo>
                  <a:pt x="276787" y="1048894"/>
                </a:lnTo>
                <a:cubicBezTo>
                  <a:pt x="277031" y="1047801"/>
                  <a:pt x="277031" y="1047801"/>
                  <a:pt x="277031" y="1047801"/>
                </a:cubicBezTo>
                <a:close/>
                <a:moveTo>
                  <a:pt x="4155691" y="1041533"/>
                </a:moveTo>
                <a:lnTo>
                  <a:pt x="4025446" y="1226214"/>
                </a:lnTo>
                <a:lnTo>
                  <a:pt x="4022567" y="1230359"/>
                </a:lnTo>
                <a:lnTo>
                  <a:pt x="4178028" y="1230359"/>
                </a:lnTo>
                <a:lnTo>
                  <a:pt x="4178028" y="1227498"/>
                </a:lnTo>
                <a:cubicBezTo>
                  <a:pt x="4178028" y="1220111"/>
                  <a:pt x="4178028" y="1194258"/>
                  <a:pt x="4178028" y="1103769"/>
                </a:cubicBezTo>
                <a:lnTo>
                  <a:pt x="4178028" y="1041533"/>
                </a:lnTo>
                <a:close/>
                <a:moveTo>
                  <a:pt x="4200732" y="1041446"/>
                </a:moveTo>
                <a:lnTo>
                  <a:pt x="4200732" y="1074529"/>
                </a:lnTo>
                <a:cubicBezTo>
                  <a:pt x="4200732" y="1134736"/>
                  <a:pt x="4200732" y="1185368"/>
                  <a:pt x="4200732" y="1227947"/>
                </a:cubicBezTo>
                <a:lnTo>
                  <a:pt x="4200732" y="1230359"/>
                </a:lnTo>
                <a:lnTo>
                  <a:pt x="4356259" y="1230359"/>
                </a:lnTo>
                <a:lnTo>
                  <a:pt x="4223030" y="1041446"/>
                </a:lnTo>
                <a:close/>
                <a:moveTo>
                  <a:pt x="279512" y="1038124"/>
                </a:moveTo>
                <a:lnTo>
                  <a:pt x="277037" y="1047770"/>
                </a:lnTo>
                <a:cubicBezTo>
                  <a:pt x="277037" y="1047770"/>
                  <a:pt x="277037" y="1047770"/>
                  <a:pt x="278206" y="1043211"/>
                </a:cubicBezTo>
                <a:close/>
                <a:moveTo>
                  <a:pt x="283918" y="1020948"/>
                </a:moveTo>
                <a:lnTo>
                  <a:pt x="280984" y="1032385"/>
                </a:lnTo>
                <a:lnTo>
                  <a:pt x="279512" y="1038124"/>
                </a:lnTo>
                <a:lnTo>
                  <a:pt x="282446" y="1026687"/>
                </a:lnTo>
                <a:close/>
                <a:moveTo>
                  <a:pt x="286393" y="1011302"/>
                </a:moveTo>
                <a:lnTo>
                  <a:pt x="283918" y="1020948"/>
                </a:lnTo>
                <a:lnTo>
                  <a:pt x="285224" y="1015860"/>
                </a:lnTo>
                <a:cubicBezTo>
                  <a:pt x="286393" y="1011302"/>
                  <a:pt x="286393" y="1011302"/>
                  <a:pt x="286393" y="1011302"/>
                </a:cubicBezTo>
                <a:close/>
                <a:moveTo>
                  <a:pt x="330494" y="611237"/>
                </a:moveTo>
                <a:lnTo>
                  <a:pt x="330494" y="611238"/>
                </a:lnTo>
                <a:lnTo>
                  <a:pt x="330494" y="611436"/>
                </a:lnTo>
                <a:lnTo>
                  <a:pt x="330499" y="611352"/>
                </a:lnTo>
                <a:lnTo>
                  <a:pt x="330499" y="611249"/>
                </a:lnTo>
                <a:lnTo>
                  <a:pt x="330499" y="611248"/>
                </a:lnTo>
                <a:lnTo>
                  <a:pt x="330502" y="611300"/>
                </a:lnTo>
                <a:lnTo>
                  <a:pt x="330505" y="611248"/>
                </a:lnTo>
                <a:lnTo>
                  <a:pt x="352084" y="976364"/>
                </a:lnTo>
                <a:lnTo>
                  <a:pt x="376781" y="976364"/>
                </a:lnTo>
                <a:cubicBezTo>
                  <a:pt x="381409" y="976364"/>
                  <a:pt x="386038" y="977951"/>
                  <a:pt x="389509" y="980730"/>
                </a:cubicBezTo>
                <a:lnTo>
                  <a:pt x="389514" y="980739"/>
                </a:lnTo>
                <a:lnTo>
                  <a:pt x="389523" y="980742"/>
                </a:lnTo>
                <a:cubicBezTo>
                  <a:pt x="392989" y="983520"/>
                  <a:pt x="395301" y="987488"/>
                  <a:pt x="395301" y="992251"/>
                </a:cubicBezTo>
                <a:cubicBezTo>
                  <a:pt x="395301" y="1001776"/>
                  <a:pt x="386055" y="1011301"/>
                  <a:pt x="376809" y="1011301"/>
                </a:cubicBezTo>
                <a:lnTo>
                  <a:pt x="375056" y="1011301"/>
                </a:lnTo>
                <a:lnTo>
                  <a:pt x="401934" y="1116657"/>
                </a:lnTo>
                <a:lnTo>
                  <a:pt x="405245" y="1118808"/>
                </a:lnTo>
                <a:cubicBezTo>
                  <a:pt x="424202" y="1137096"/>
                  <a:pt x="435807" y="1162242"/>
                  <a:pt x="435807" y="1189675"/>
                </a:cubicBezTo>
                <a:cubicBezTo>
                  <a:pt x="435807" y="1189675"/>
                  <a:pt x="435807" y="1189675"/>
                  <a:pt x="435807" y="1196152"/>
                </a:cubicBezTo>
                <a:lnTo>
                  <a:pt x="435807" y="1206451"/>
                </a:lnTo>
                <a:lnTo>
                  <a:pt x="442661" y="1216485"/>
                </a:lnTo>
                <a:cubicBezTo>
                  <a:pt x="448698" y="1230737"/>
                  <a:pt x="452008" y="1246509"/>
                  <a:pt x="452008" y="1263232"/>
                </a:cubicBezTo>
                <a:cubicBezTo>
                  <a:pt x="452008" y="1263232"/>
                  <a:pt x="452008" y="1263232"/>
                  <a:pt x="452008" y="1270833"/>
                </a:cubicBezTo>
                <a:lnTo>
                  <a:pt x="452008" y="1283145"/>
                </a:lnTo>
                <a:lnTo>
                  <a:pt x="456130" y="1289231"/>
                </a:lnTo>
                <a:cubicBezTo>
                  <a:pt x="462887" y="1305389"/>
                  <a:pt x="466582" y="1323311"/>
                  <a:pt x="466582" y="1342376"/>
                </a:cubicBezTo>
                <a:lnTo>
                  <a:pt x="466582" y="1342612"/>
                </a:lnTo>
                <a:lnTo>
                  <a:pt x="466587" y="1342642"/>
                </a:lnTo>
                <a:cubicBezTo>
                  <a:pt x="466587" y="1342642"/>
                  <a:pt x="466587" y="1342642"/>
                  <a:pt x="466587" y="1351430"/>
                </a:cubicBezTo>
                <a:lnTo>
                  <a:pt x="466587" y="1363960"/>
                </a:lnTo>
                <a:lnTo>
                  <a:pt x="469767" y="1370080"/>
                </a:lnTo>
                <a:lnTo>
                  <a:pt x="469822" y="1370080"/>
                </a:lnTo>
                <a:lnTo>
                  <a:pt x="469825" y="1370080"/>
                </a:lnTo>
                <a:lnTo>
                  <a:pt x="469822" y="1370065"/>
                </a:lnTo>
                <a:cubicBezTo>
                  <a:pt x="469822" y="1370065"/>
                  <a:pt x="469822" y="1370065"/>
                  <a:pt x="539484" y="1370065"/>
                </a:cubicBezTo>
                <a:lnTo>
                  <a:pt x="539484" y="1370080"/>
                </a:lnTo>
                <a:lnTo>
                  <a:pt x="539486" y="1370080"/>
                </a:lnTo>
                <a:lnTo>
                  <a:pt x="539486" y="1681233"/>
                </a:lnTo>
                <a:lnTo>
                  <a:pt x="588084" y="1681233"/>
                </a:lnTo>
                <a:lnTo>
                  <a:pt x="588085" y="1681233"/>
                </a:lnTo>
                <a:lnTo>
                  <a:pt x="588091" y="1681233"/>
                </a:lnTo>
                <a:lnTo>
                  <a:pt x="588091" y="3602100"/>
                </a:lnTo>
                <a:lnTo>
                  <a:pt x="662607" y="3602100"/>
                </a:lnTo>
                <a:lnTo>
                  <a:pt x="662607" y="3602126"/>
                </a:lnTo>
                <a:lnTo>
                  <a:pt x="662610" y="3602126"/>
                </a:lnTo>
                <a:lnTo>
                  <a:pt x="662610" y="3722511"/>
                </a:lnTo>
                <a:lnTo>
                  <a:pt x="0" y="3722511"/>
                </a:lnTo>
                <a:lnTo>
                  <a:pt x="0" y="3602100"/>
                </a:lnTo>
                <a:lnTo>
                  <a:pt x="1" y="3602100"/>
                </a:lnTo>
                <a:lnTo>
                  <a:pt x="76146" y="3602100"/>
                </a:lnTo>
                <a:lnTo>
                  <a:pt x="76146" y="3552888"/>
                </a:lnTo>
                <a:lnTo>
                  <a:pt x="76142" y="3552888"/>
                </a:lnTo>
                <a:lnTo>
                  <a:pt x="76142" y="3508438"/>
                </a:lnTo>
                <a:lnTo>
                  <a:pt x="76146" y="3508438"/>
                </a:lnTo>
                <a:lnTo>
                  <a:pt x="76146" y="3443350"/>
                </a:lnTo>
                <a:lnTo>
                  <a:pt x="76142" y="3443350"/>
                </a:lnTo>
                <a:lnTo>
                  <a:pt x="76142" y="3397312"/>
                </a:lnTo>
                <a:lnTo>
                  <a:pt x="76146" y="3397312"/>
                </a:lnTo>
                <a:lnTo>
                  <a:pt x="76146" y="3333812"/>
                </a:lnTo>
                <a:lnTo>
                  <a:pt x="76144" y="3333812"/>
                </a:lnTo>
                <a:lnTo>
                  <a:pt x="76144" y="3284599"/>
                </a:lnTo>
                <a:lnTo>
                  <a:pt x="76146" y="3284599"/>
                </a:lnTo>
                <a:lnTo>
                  <a:pt x="76146" y="3221099"/>
                </a:lnTo>
                <a:lnTo>
                  <a:pt x="76144" y="3221099"/>
                </a:lnTo>
                <a:lnTo>
                  <a:pt x="76144" y="3175061"/>
                </a:lnTo>
                <a:lnTo>
                  <a:pt x="76146" y="3175061"/>
                </a:lnTo>
                <a:lnTo>
                  <a:pt x="76146" y="3111561"/>
                </a:lnTo>
                <a:lnTo>
                  <a:pt x="76144" y="3111561"/>
                </a:lnTo>
                <a:lnTo>
                  <a:pt x="76144" y="3065523"/>
                </a:lnTo>
                <a:lnTo>
                  <a:pt x="76146" y="3065523"/>
                </a:lnTo>
                <a:lnTo>
                  <a:pt x="76146" y="3002023"/>
                </a:lnTo>
                <a:lnTo>
                  <a:pt x="76144" y="3002023"/>
                </a:lnTo>
                <a:lnTo>
                  <a:pt x="76144" y="2955985"/>
                </a:lnTo>
                <a:lnTo>
                  <a:pt x="76146" y="2955985"/>
                </a:lnTo>
                <a:lnTo>
                  <a:pt x="76146" y="2892485"/>
                </a:lnTo>
                <a:lnTo>
                  <a:pt x="76144" y="2892485"/>
                </a:lnTo>
                <a:lnTo>
                  <a:pt x="76144" y="2846447"/>
                </a:lnTo>
                <a:lnTo>
                  <a:pt x="76146" y="2846447"/>
                </a:lnTo>
                <a:lnTo>
                  <a:pt x="76146" y="2781359"/>
                </a:lnTo>
                <a:lnTo>
                  <a:pt x="76144" y="2781359"/>
                </a:lnTo>
                <a:lnTo>
                  <a:pt x="76144" y="2733734"/>
                </a:lnTo>
                <a:lnTo>
                  <a:pt x="76146" y="2733734"/>
                </a:lnTo>
                <a:lnTo>
                  <a:pt x="76146" y="2668646"/>
                </a:lnTo>
                <a:lnTo>
                  <a:pt x="76144" y="2668646"/>
                </a:lnTo>
                <a:lnTo>
                  <a:pt x="76144" y="2624196"/>
                </a:lnTo>
                <a:lnTo>
                  <a:pt x="76146" y="2624196"/>
                </a:lnTo>
                <a:lnTo>
                  <a:pt x="76146" y="2559109"/>
                </a:lnTo>
                <a:lnTo>
                  <a:pt x="76145" y="2559109"/>
                </a:lnTo>
                <a:lnTo>
                  <a:pt x="76145" y="2513071"/>
                </a:lnTo>
                <a:lnTo>
                  <a:pt x="76146" y="2513071"/>
                </a:lnTo>
                <a:lnTo>
                  <a:pt x="76146" y="2449571"/>
                </a:lnTo>
                <a:lnTo>
                  <a:pt x="76145" y="2449571"/>
                </a:lnTo>
                <a:lnTo>
                  <a:pt x="76145" y="2403533"/>
                </a:lnTo>
                <a:lnTo>
                  <a:pt x="76146" y="2403533"/>
                </a:lnTo>
                <a:lnTo>
                  <a:pt x="76146" y="2340033"/>
                </a:lnTo>
                <a:lnTo>
                  <a:pt x="76145" y="2340033"/>
                </a:lnTo>
                <a:lnTo>
                  <a:pt x="76145" y="2290820"/>
                </a:lnTo>
                <a:lnTo>
                  <a:pt x="76146" y="2290820"/>
                </a:lnTo>
                <a:lnTo>
                  <a:pt x="76146" y="2230495"/>
                </a:lnTo>
                <a:lnTo>
                  <a:pt x="76145" y="2230495"/>
                </a:lnTo>
                <a:lnTo>
                  <a:pt x="76145" y="2181282"/>
                </a:lnTo>
                <a:lnTo>
                  <a:pt x="76146" y="2181282"/>
                </a:lnTo>
                <a:lnTo>
                  <a:pt x="76146" y="2117782"/>
                </a:lnTo>
                <a:lnTo>
                  <a:pt x="76145" y="2117782"/>
                </a:lnTo>
                <a:lnTo>
                  <a:pt x="76145" y="2071744"/>
                </a:lnTo>
                <a:lnTo>
                  <a:pt x="76146" y="2071744"/>
                </a:lnTo>
                <a:lnTo>
                  <a:pt x="76146" y="2008244"/>
                </a:lnTo>
                <a:lnTo>
                  <a:pt x="76145" y="2008244"/>
                </a:lnTo>
                <a:lnTo>
                  <a:pt x="76145" y="1962206"/>
                </a:lnTo>
                <a:lnTo>
                  <a:pt x="76146" y="1962206"/>
                </a:lnTo>
                <a:lnTo>
                  <a:pt x="76146" y="1897118"/>
                </a:lnTo>
                <a:lnTo>
                  <a:pt x="76146" y="1852668"/>
                </a:lnTo>
                <a:lnTo>
                  <a:pt x="76146" y="1787580"/>
                </a:lnTo>
                <a:lnTo>
                  <a:pt x="76146" y="1739955"/>
                </a:lnTo>
                <a:lnTo>
                  <a:pt x="76146" y="1681217"/>
                </a:lnTo>
                <a:lnTo>
                  <a:pt x="124756" y="1681217"/>
                </a:lnTo>
                <a:lnTo>
                  <a:pt x="124756" y="1681216"/>
                </a:lnTo>
                <a:lnTo>
                  <a:pt x="124744" y="1681216"/>
                </a:lnTo>
                <a:cubicBezTo>
                  <a:pt x="124744" y="1681216"/>
                  <a:pt x="124744" y="1681216"/>
                  <a:pt x="124744" y="1370065"/>
                </a:cubicBezTo>
                <a:cubicBezTo>
                  <a:pt x="124744" y="1370065"/>
                  <a:pt x="124744" y="1370065"/>
                  <a:pt x="192785" y="1370065"/>
                </a:cubicBezTo>
                <a:lnTo>
                  <a:pt x="192780" y="1370080"/>
                </a:lnTo>
                <a:lnTo>
                  <a:pt x="192790" y="1370080"/>
                </a:lnTo>
                <a:lnTo>
                  <a:pt x="192801" y="1370080"/>
                </a:lnTo>
                <a:lnTo>
                  <a:pt x="192801" y="1363694"/>
                </a:lnTo>
                <a:lnTo>
                  <a:pt x="192789" y="1363716"/>
                </a:lnTo>
                <a:cubicBezTo>
                  <a:pt x="192789" y="1363716"/>
                  <a:pt x="192789" y="1363716"/>
                  <a:pt x="192789" y="1342362"/>
                </a:cubicBezTo>
                <a:cubicBezTo>
                  <a:pt x="192789" y="1342362"/>
                  <a:pt x="192789" y="1342362"/>
                  <a:pt x="192789" y="1339312"/>
                </a:cubicBezTo>
                <a:lnTo>
                  <a:pt x="196212" y="1325964"/>
                </a:lnTo>
                <a:lnTo>
                  <a:pt x="196251" y="1325773"/>
                </a:lnTo>
                <a:lnTo>
                  <a:pt x="203690" y="1289391"/>
                </a:lnTo>
                <a:lnTo>
                  <a:pt x="206597" y="1285198"/>
                </a:lnTo>
                <a:lnTo>
                  <a:pt x="206710" y="1285035"/>
                </a:lnTo>
                <a:lnTo>
                  <a:pt x="208437" y="1278302"/>
                </a:lnTo>
                <a:lnTo>
                  <a:pt x="208990" y="1277578"/>
                </a:lnTo>
                <a:lnTo>
                  <a:pt x="208990" y="1264243"/>
                </a:lnTo>
                <a:cubicBezTo>
                  <a:pt x="208990" y="1261176"/>
                  <a:pt x="208990" y="1261176"/>
                  <a:pt x="208990" y="1261176"/>
                </a:cubicBezTo>
                <a:lnTo>
                  <a:pt x="210402" y="1256543"/>
                </a:lnTo>
                <a:lnTo>
                  <a:pt x="218787" y="1216485"/>
                </a:lnTo>
                <a:lnTo>
                  <a:pt x="225541" y="1206871"/>
                </a:lnTo>
                <a:lnTo>
                  <a:pt x="227683" y="1199841"/>
                </a:lnTo>
                <a:lnTo>
                  <a:pt x="228431" y="1199145"/>
                </a:lnTo>
                <a:lnTo>
                  <a:pt x="228431" y="1199045"/>
                </a:lnTo>
                <a:cubicBezTo>
                  <a:pt x="228431" y="1197888"/>
                  <a:pt x="228431" y="1195573"/>
                  <a:pt x="228431" y="1190942"/>
                </a:cubicBezTo>
                <a:cubicBezTo>
                  <a:pt x="228431" y="1190942"/>
                  <a:pt x="228431" y="1190942"/>
                  <a:pt x="228431" y="1187856"/>
                </a:cubicBezTo>
                <a:lnTo>
                  <a:pt x="228738" y="1186508"/>
                </a:lnTo>
                <a:lnTo>
                  <a:pt x="235143" y="1157623"/>
                </a:lnTo>
                <a:lnTo>
                  <a:pt x="236566" y="1150812"/>
                </a:lnTo>
                <a:lnTo>
                  <a:pt x="236694" y="1150628"/>
                </a:lnTo>
                <a:lnTo>
                  <a:pt x="237335" y="1147740"/>
                </a:lnTo>
                <a:lnTo>
                  <a:pt x="246086" y="1136998"/>
                </a:lnTo>
                <a:lnTo>
                  <a:pt x="258619" y="1118808"/>
                </a:lnTo>
                <a:lnTo>
                  <a:pt x="261655" y="1116779"/>
                </a:lnTo>
                <a:lnTo>
                  <a:pt x="262414" y="1116271"/>
                </a:lnTo>
                <a:lnTo>
                  <a:pt x="264989" y="1106181"/>
                </a:lnTo>
                <a:lnTo>
                  <a:pt x="268975" y="1088165"/>
                </a:lnTo>
                <a:cubicBezTo>
                  <a:pt x="271150" y="1078336"/>
                  <a:pt x="274049" y="1065230"/>
                  <a:pt x="277915" y="1047756"/>
                </a:cubicBezTo>
                <a:cubicBezTo>
                  <a:pt x="277915" y="1047756"/>
                  <a:pt x="277915" y="1047756"/>
                  <a:pt x="287193" y="1011289"/>
                </a:cubicBezTo>
                <a:lnTo>
                  <a:pt x="287402" y="1011289"/>
                </a:lnTo>
                <a:lnTo>
                  <a:pt x="287395" y="1011286"/>
                </a:lnTo>
                <a:lnTo>
                  <a:pt x="287383" y="1011286"/>
                </a:lnTo>
                <a:lnTo>
                  <a:pt x="277244" y="1006929"/>
                </a:lnTo>
                <a:lnTo>
                  <a:pt x="273562" y="1005348"/>
                </a:lnTo>
                <a:lnTo>
                  <a:pt x="273560" y="1005345"/>
                </a:lnTo>
                <a:lnTo>
                  <a:pt x="273531" y="1005333"/>
                </a:lnTo>
                <a:cubicBezTo>
                  <a:pt x="270453" y="1001761"/>
                  <a:pt x="268914" y="996998"/>
                  <a:pt x="268914" y="992236"/>
                </a:cubicBezTo>
                <a:cubicBezTo>
                  <a:pt x="268914" y="982711"/>
                  <a:pt x="275070" y="976361"/>
                  <a:pt x="287383" y="976361"/>
                </a:cubicBezTo>
                <a:cubicBezTo>
                  <a:pt x="287383" y="976361"/>
                  <a:pt x="287383" y="976361"/>
                  <a:pt x="305563" y="976361"/>
                </a:cubicBezTo>
                <a:lnTo>
                  <a:pt x="308926" y="976361"/>
                </a:lnTo>
                <a:lnTo>
                  <a:pt x="330011" y="619598"/>
                </a:lnTo>
                <a:close/>
                <a:moveTo>
                  <a:pt x="4187771" y="223881"/>
                </a:moveTo>
                <a:cubicBezTo>
                  <a:pt x="4194251" y="223881"/>
                  <a:pt x="4200732" y="226931"/>
                  <a:pt x="4200732" y="233031"/>
                </a:cubicBezTo>
                <a:lnTo>
                  <a:pt x="4200732" y="315956"/>
                </a:lnTo>
                <a:lnTo>
                  <a:pt x="4225032" y="315956"/>
                </a:lnTo>
                <a:lnTo>
                  <a:pt x="4225032" y="333419"/>
                </a:lnTo>
                <a:lnTo>
                  <a:pt x="4200732" y="333419"/>
                </a:lnTo>
                <a:lnTo>
                  <a:pt x="4200732" y="408592"/>
                </a:lnTo>
                <a:lnTo>
                  <a:pt x="4200732" y="488994"/>
                </a:lnTo>
                <a:lnTo>
                  <a:pt x="4225032" y="488994"/>
                </a:lnTo>
                <a:lnTo>
                  <a:pt x="4225032" y="511219"/>
                </a:lnTo>
                <a:lnTo>
                  <a:pt x="4200732" y="511219"/>
                </a:lnTo>
                <a:lnTo>
                  <a:pt x="4200732" y="566447"/>
                </a:lnTo>
                <a:lnTo>
                  <a:pt x="4200732" y="663620"/>
                </a:lnTo>
                <a:lnTo>
                  <a:pt x="4225032" y="663620"/>
                </a:lnTo>
                <a:lnTo>
                  <a:pt x="4225032" y="684258"/>
                </a:lnTo>
                <a:lnTo>
                  <a:pt x="4200732" y="684258"/>
                </a:lnTo>
                <a:lnTo>
                  <a:pt x="4200732" y="707539"/>
                </a:lnTo>
                <a:cubicBezTo>
                  <a:pt x="4200732" y="751880"/>
                  <a:pt x="4200732" y="793585"/>
                  <a:pt x="4200732" y="832808"/>
                </a:cubicBezTo>
                <a:lnTo>
                  <a:pt x="4200732" y="836658"/>
                </a:lnTo>
                <a:lnTo>
                  <a:pt x="4225032" y="836658"/>
                </a:lnTo>
                <a:lnTo>
                  <a:pt x="4225032" y="857296"/>
                </a:lnTo>
                <a:lnTo>
                  <a:pt x="4200732" y="857296"/>
                </a:lnTo>
                <a:lnTo>
                  <a:pt x="4200732" y="976847"/>
                </a:lnTo>
                <a:lnTo>
                  <a:pt x="4200732" y="992233"/>
                </a:lnTo>
                <a:lnTo>
                  <a:pt x="4284975" y="992233"/>
                </a:lnTo>
                <a:lnTo>
                  <a:pt x="4284975" y="1041446"/>
                </a:lnTo>
                <a:lnTo>
                  <a:pt x="4239126" y="1041446"/>
                </a:lnTo>
                <a:lnTo>
                  <a:pt x="4369219" y="1230359"/>
                </a:lnTo>
                <a:lnTo>
                  <a:pt x="4424303" y="1230359"/>
                </a:lnTo>
                <a:lnTo>
                  <a:pt x="4424303" y="1257346"/>
                </a:lnTo>
                <a:lnTo>
                  <a:pt x="4424303" y="1257347"/>
                </a:lnTo>
                <a:lnTo>
                  <a:pt x="4424303" y="1349421"/>
                </a:lnTo>
                <a:lnTo>
                  <a:pt x="4492347" y="1349421"/>
                </a:lnTo>
                <a:lnTo>
                  <a:pt x="4492347" y="1376409"/>
                </a:lnTo>
                <a:lnTo>
                  <a:pt x="4492347" y="1431972"/>
                </a:lnTo>
                <a:lnTo>
                  <a:pt x="4492347" y="1446260"/>
                </a:lnTo>
                <a:lnTo>
                  <a:pt x="4492347" y="1516109"/>
                </a:lnTo>
                <a:lnTo>
                  <a:pt x="4492347" y="1531984"/>
                </a:lnTo>
                <a:lnTo>
                  <a:pt x="4492347" y="1601834"/>
                </a:lnTo>
                <a:lnTo>
                  <a:pt x="4492347" y="1617709"/>
                </a:lnTo>
                <a:lnTo>
                  <a:pt x="4492347" y="1687560"/>
                </a:lnTo>
                <a:lnTo>
                  <a:pt x="4492347" y="1703435"/>
                </a:lnTo>
                <a:lnTo>
                  <a:pt x="4492347" y="1773285"/>
                </a:lnTo>
                <a:lnTo>
                  <a:pt x="4492347" y="1787573"/>
                </a:lnTo>
                <a:lnTo>
                  <a:pt x="4492347" y="1857423"/>
                </a:lnTo>
                <a:lnTo>
                  <a:pt x="4492347" y="1873298"/>
                </a:lnTo>
                <a:lnTo>
                  <a:pt x="4492347" y="1943148"/>
                </a:lnTo>
                <a:lnTo>
                  <a:pt x="4492347" y="1959023"/>
                </a:lnTo>
                <a:lnTo>
                  <a:pt x="4492347" y="2028873"/>
                </a:lnTo>
                <a:lnTo>
                  <a:pt x="4492347" y="2044748"/>
                </a:lnTo>
                <a:lnTo>
                  <a:pt x="4492347" y="2114598"/>
                </a:lnTo>
                <a:lnTo>
                  <a:pt x="4492347" y="2128886"/>
                </a:lnTo>
                <a:lnTo>
                  <a:pt x="4492347" y="2200323"/>
                </a:lnTo>
                <a:lnTo>
                  <a:pt x="4492347" y="2214611"/>
                </a:lnTo>
                <a:lnTo>
                  <a:pt x="4492347" y="2284461"/>
                </a:lnTo>
                <a:lnTo>
                  <a:pt x="4492347" y="2300336"/>
                </a:lnTo>
                <a:lnTo>
                  <a:pt x="4492347" y="2370186"/>
                </a:lnTo>
                <a:lnTo>
                  <a:pt x="4492347" y="2386061"/>
                </a:lnTo>
                <a:lnTo>
                  <a:pt x="4492347" y="2455912"/>
                </a:lnTo>
                <a:lnTo>
                  <a:pt x="4492347" y="2471787"/>
                </a:lnTo>
                <a:lnTo>
                  <a:pt x="4492347" y="2541637"/>
                </a:lnTo>
                <a:lnTo>
                  <a:pt x="4492347" y="2555925"/>
                </a:lnTo>
                <a:lnTo>
                  <a:pt x="4492347" y="2625775"/>
                </a:lnTo>
                <a:lnTo>
                  <a:pt x="4492347" y="2641650"/>
                </a:lnTo>
                <a:lnTo>
                  <a:pt x="4492347" y="2711500"/>
                </a:lnTo>
                <a:lnTo>
                  <a:pt x="4492347" y="2727375"/>
                </a:lnTo>
                <a:lnTo>
                  <a:pt x="4492347" y="2797225"/>
                </a:lnTo>
                <a:lnTo>
                  <a:pt x="4492347" y="2813100"/>
                </a:lnTo>
                <a:lnTo>
                  <a:pt x="4492347" y="2882950"/>
                </a:lnTo>
                <a:lnTo>
                  <a:pt x="4492347" y="2897238"/>
                </a:lnTo>
                <a:lnTo>
                  <a:pt x="4492347" y="2968675"/>
                </a:lnTo>
                <a:lnTo>
                  <a:pt x="4492347" y="2982963"/>
                </a:lnTo>
                <a:lnTo>
                  <a:pt x="4492347" y="3052813"/>
                </a:lnTo>
                <a:lnTo>
                  <a:pt x="4492347" y="3068688"/>
                </a:lnTo>
                <a:lnTo>
                  <a:pt x="4492347" y="3138538"/>
                </a:lnTo>
                <a:lnTo>
                  <a:pt x="4492347" y="3154413"/>
                </a:lnTo>
                <a:lnTo>
                  <a:pt x="4492347" y="3224264"/>
                </a:lnTo>
                <a:lnTo>
                  <a:pt x="4492347" y="3240139"/>
                </a:lnTo>
                <a:lnTo>
                  <a:pt x="4492347" y="3309989"/>
                </a:lnTo>
                <a:lnTo>
                  <a:pt x="4492347" y="3324277"/>
                </a:lnTo>
                <a:lnTo>
                  <a:pt x="4492347" y="3395714"/>
                </a:lnTo>
                <a:lnTo>
                  <a:pt x="4492347" y="3410002"/>
                </a:lnTo>
                <a:lnTo>
                  <a:pt x="4492347" y="3479852"/>
                </a:lnTo>
                <a:lnTo>
                  <a:pt x="4492347" y="3495727"/>
                </a:lnTo>
                <a:lnTo>
                  <a:pt x="4492347" y="3565577"/>
                </a:lnTo>
                <a:lnTo>
                  <a:pt x="4492347" y="3581452"/>
                </a:lnTo>
                <a:lnTo>
                  <a:pt x="4492347" y="3629279"/>
                </a:lnTo>
                <a:lnTo>
                  <a:pt x="4492419" y="3629142"/>
                </a:lnTo>
                <a:lnTo>
                  <a:pt x="4492419" y="3624328"/>
                </a:lnTo>
                <a:lnTo>
                  <a:pt x="4573424" y="3476690"/>
                </a:lnTo>
                <a:lnTo>
                  <a:pt x="4573425" y="3476690"/>
                </a:lnTo>
                <a:lnTo>
                  <a:pt x="4643089" y="3476690"/>
                </a:lnTo>
                <a:lnTo>
                  <a:pt x="4643089" y="2465449"/>
                </a:lnTo>
                <a:lnTo>
                  <a:pt x="4704652" y="2465449"/>
                </a:lnTo>
                <a:lnTo>
                  <a:pt x="4704652" y="2465448"/>
                </a:lnTo>
                <a:lnTo>
                  <a:pt x="4704652" y="2028884"/>
                </a:lnTo>
                <a:lnTo>
                  <a:pt x="4704652" y="1741545"/>
                </a:lnTo>
                <a:lnTo>
                  <a:pt x="4735434" y="1671695"/>
                </a:lnTo>
                <a:lnTo>
                  <a:pt x="4766216" y="1741545"/>
                </a:lnTo>
                <a:lnTo>
                  <a:pt x="4913644" y="1555807"/>
                </a:lnTo>
                <a:lnTo>
                  <a:pt x="4913644" y="1555808"/>
                </a:lnTo>
                <a:lnTo>
                  <a:pt x="4913645" y="1555807"/>
                </a:lnTo>
                <a:lnTo>
                  <a:pt x="5059454" y="1741545"/>
                </a:lnTo>
                <a:lnTo>
                  <a:pt x="5062694" y="1741545"/>
                </a:lnTo>
                <a:lnTo>
                  <a:pt x="5093475" y="1671695"/>
                </a:lnTo>
                <a:lnTo>
                  <a:pt x="5124257" y="1741545"/>
                </a:lnTo>
                <a:lnTo>
                  <a:pt x="5124257" y="2028884"/>
                </a:lnTo>
                <a:lnTo>
                  <a:pt x="5124257" y="2465449"/>
                </a:lnTo>
                <a:lnTo>
                  <a:pt x="5187441" y="2465449"/>
                </a:lnTo>
                <a:lnTo>
                  <a:pt x="5187441" y="3476690"/>
                </a:lnTo>
                <a:lnTo>
                  <a:pt x="5255485" y="3476690"/>
                </a:lnTo>
                <a:lnTo>
                  <a:pt x="5282926" y="3528335"/>
                </a:lnTo>
                <a:lnTo>
                  <a:pt x="5282926" y="2773408"/>
                </a:lnTo>
                <a:lnTo>
                  <a:pt x="5282941" y="2773408"/>
                </a:lnTo>
                <a:lnTo>
                  <a:pt x="5282941" y="2700418"/>
                </a:lnTo>
                <a:lnTo>
                  <a:pt x="5417408" y="2700418"/>
                </a:lnTo>
                <a:lnTo>
                  <a:pt x="5417409" y="2700417"/>
                </a:lnTo>
                <a:lnTo>
                  <a:pt x="5417408" y="2700417"/>
                </a:lnTo>
                <a:lnTo>
                  <a:pt x="5282941" y="2700417"/>
                </a:lnTo>
                <a:lnTo>
                  <a:pt x="5621538" y="2440065"/>
                </a:lnTo>
                <a:lnTo>
                  <a:pt x="5958515" y="2700417"/>
                </a:lnTo>
                <a:lnTo>
                  <a:pt x="5824047" y="2700417"/>
                </a:lnTo>
                <a:lnTo>
                  <a:pt x="5824048" y="2700418"/>
                </a:lnTo>
                <a:lnTo>
                  <a:pt x="5958515" y="2700418"/>
                </a:lnTo>
                <a:lnTo>
                  <a:pt x="5958515" y="2773444"/>
                </a:lnTo>
                <a:lnTo>
                  <a:pt x="5958498" y="2773444"/>
                </a:lnTo>
                <a:lnTo>
                  <a:pt x="5958498" y="3722511"/>
                </a:lnTo>
                <a:lnTo>
                  <a:pt x="1621689" y="3722511"/>
                </a:lnTo>
                <a:lnTo>
                  <a:pt x="1621689" y="2544808"/>
                </a:lnTo>
                <a:lnTo>
                  <a:pt x="1639501" y="2544808"/>
                </a:lnTo>
                <a:lnTo>
                  <a:pt x="1680000" y="2544808"/>
                </a:lnTo>
                <a:lnTo>
                  <a:pt x="1680000" y="2233658"/>
                </a:lnTo>
                <a:lnTo>
                  <a:pt x="1767513" y="2233658"/>
                </a:lnTo>
                <a:lnTo>
                  <a:pt x="1767513" y="1968545"/>
                </a:lnTo>
                <a:lnTo>
                  <a:pt x="1793446" y="1968545"/>
                </a:lnTo>
                <a:lnTo>
                  <a:pt x="1793446" y="1833608"/>
                </a:lnTo>
                <a:lnTo>
                  <a:pt x="1848543" y="1833608"/>
                </a:lnTo>
                <a:lnTo>
                  <a:pt x="1848543" y="1736770"/>
                </a:lnTo>
                <a:lnTo>
                  <a:pt x="1905234" y="1736770"/>
                </a:lnTo>
                <a:lnTo>
                  <a:pt x="1905234" y="1693908"/>
                </a:lnTo>
                <a:lnTo>
                  <a:pt x="1979758" y="1693908"/>
                </a:lnTo>
                <a:lnTo>
                  <a:pt x="1988915" y="1479595"/>
                </a:lnTo>
                <a:lnTo>
                  <a:pt x="1988666" y="1479595"/>
                </a:lnTo>
                <a:lnTo>
                  <a:pt x="1987883" y="1479595"/>
                </a:lnTo>
                <a:lnTo>
                  <a:pt x="1987492" y="1479595"/>
                </a:lnTo>
                <a:lnTo>
                  <a:pt x="1980334" y="1479595"/>
                </a:lnTo>
                <a:lnTo>
                  <a:pt x="1979256" y="1479595"/>
                </a:lnTo>
                <a:cubicBezTo>
                  <a:pt x="1974543" y="1479595"/>
                  <a:pt x="1970620" y="1478096"/>
                  <a:pt x="1967873" y="1475847"/>
                </a:cubicBezTo>
                <a:cubicBezTo>
                  <a:pt x="1965107" y="1473598"/>
                  <a:pt x="1963542" y="1470599"/>
                  <a:pt x="1963542" y="1467600"/>
                </a:cubicBezTo>
                <a:cubicBezTo>
                  <a:pt x="1963542" y="1458604"/>
                  <a:pt x="1969832" y="1452607"/>
                  <a:pt x="1979256" y="1452607"/>
                </a:cubicBezTo>
                <a:lnTo>
                  <a:pt x="1980433" y="1452607"/>
                </a:lnTo>
                <a:lnTo>
                  <a:pt x="1988666" y="1452607"/>
                </a:lnTo>
                <a:lnTo>
                  <a:pt x="1988695" y="1452607"/>
                </a:lnTo>
                <a:lnTo>
                  <a:pt x="1989477" y="1452607"/>
                </a:lnTo>
                <a:lnTo>
                  <a:pt x="2003620" y="1132318"/>
                </a:lnTo>
                <a:lnTo>
                  <a:pt x="2003121" y="1142981"/>
                </a:lnTo>
                <a:lnTo>
                  <a:pt x="2003620" y="1132317"/>
                </a:lnTo>
                <a:lnTo>
                  <a:pt x="2003620" y="1132271"/>
                </a:lnTo>
                <a:lnTo>
                  <a:pt x="2003926" y="1125367"/>
                </a:lnTo>
                <a:lnTo>
                  <a:pt x="2007272" y="1049602"/>
                </a:lnTo>
                <a:lnTo>
                  <a:pt x="2007280" y="1049382"/>
                </a:lnTo>
                <a:lnTo>
                  <a:pt x="2007283" y="1049382"/>
                </a:lnTo>
                <a:lnTo>
                  <a:pt x="2007483" y="1049382"/>
                </a:lnTo>
                <a:lnTo>
                  <a:pt x="2008268" y="1049382"/>
                </a:lnTo>
                <a:lnTo>
                  <a:pt x="2012971" y="1049382"/>
                </a:lnTo>
                <a:lnTo>
                  <a:pt x="2013755" y="1049382"/>
                </a:lnTo>
                <a:lnTo>
                  <a:pt x="2020230" y="1049382"/>
                </a:lnTo>
                <a:lnTo>
                  <a:pt x="2037377" y="1452607"/>
                </a:lnTo>
                <a:lnTo>
                  <a:pt x="2039561" y="1452607"/>
                </a:lnTo>
                <a:cubicBezTo>
                  <a:pt x="2048198" y="1452607"/>
                  <a:pt x="2048198" y="1452607"/>
                  <a:pt x="2048198" y="1452607"/>
                </a:cubicBezTo>
                <a:cubicBezTo>
                  <a:pt x="2057619" y="1452607"/>
                  <a:pt x="2063900" y="1458604"/>
                  <a:pt x="2063900" y="1467600"/>
                </a:cubicBezTo>
                <a:cubicBezTo>
                  <a:pt x="2063900" y="1473598"/>
                  <a:pt x="2057619" y="1479595"/>
                  <a:pt x="2048198" y="1479595"/>
                </a:cubicBezTo>
                <a:lnTo>
                  <a:pt x="2038529" y="1479595"/>
                </a:lnTo>
                <a:lnTo>
                  <a:pt x="2047691" y="1693908"/>
                </a:lnTo>
                <a:lnTo>
                  <a:pt x="2122229" y="1693908"/>
                </a:lnTo>
                <a:lnTo>
                  <a:pt x="2122229" y="1736770"/>
                </a:lnTo>
                <a:lnTo>
                  <a:pt x="2178885" y="1736770"/>
                </a:lnTo>
                <a:lnTo>
                  <a:pt x="2178885" y="1833608"/>
                </a:lnTo>
                <a:lnTo>
                  <a:pt x="2234022" y="1833608"/>
                </a:lnTo>
                <a:lnTo>
                  <a:pt x="2234022" y="1968545"/>
                </a:lnTo>
                <a:lnTo>
                  <a:pt x="2259999" y="1968545"/>
                </a:lnTo>
                <a:lnTo>
                  <a:pt x="2259999" y="2233658"/>
                </a:lnTo>
                <a:lnTo>
                  <a:pt x="2345764" y="2233658"/>
                </a:lnTo>
                <a:lnTo>
                  <a:pt x="2345764" y="2544808"/>
                </a:lnTo>
                <a:lnTo>
                  <a:pt x="2405725" y="2544808"/>
                </a:lnTo>
                <a:lnTo>
                  <a:pt x="2405725" y="3703690"/>
                </a:lnTo>
                <a:lnTo>
                  <a:pt x="2408302" y="3703690"/>
                </a:lnTo>
                <a:lnTo>
                  <a:pt x="2408304" y="3703690"/>
                </a:lnTo>
                <a:lnTo>
                  <a:pt x="2411417" y="3703690"/>
                </a:lnTo>
                <a:lnTo>
                  <a:pt x="2433205" y="3703690"/>
                </a:lnTo>
                <a:lnTo>
                  <a:pt x="2433245" y="3703690"/>
                </a:lnTo>
                <a:lnTo>
                  <a:pt x="2433245" y="3644953"/>
                </a:lnTo>
                <a:lnTo>
                  <a:pt x="2412185" y="3644953"/>
                </a:lnTo>
                <a:lnTo>
                  <a:pt x="2412184" y="3644953"/>
                </a:lnTo>
                <a:lnTo>
                  <a:pt x="2412184" y="3592565"/>
                </a:lnTo>
                <a:lnTo>
                  <a:pt x="2412185" y="3592565"/>
                </a:lnTo>
                <a:lnTo>
                  <a:pt x="2433245" y="3592565"/>
                </a:lnTo>
                <a:lnTo>
                  <a:pt x="2433245" y="3532240"/>
                </a:lnTo>
                <a:lnTo>
                  <a:pt x="2433247" y="3532240"/>
                </a:lnTo>
                <a:lnTo>
                  <a:pt x="2496433" y="3532240"/>
                </a:lnTo>
                <a:lnTo>
                  <a:pt x="2496433" y="3532239"/>
                </a:lnTo>
                <a:lnTo>
                  <a:pt x="2496433" y="2916288"/>
                </a:lnTo>
                <a:lnTo>
                  <a:pt x="2496582" y="2916123"/>
                </a:lnTo>
                <a:lnTo>
                  <a:pt x="2551787" y="2854973"/>
                </a:lnTo>
                <a:lnTo>
                  <a:pt x="2551787" y="2800850"/>
                </a:lnTo>
                <a:cubicBezTo>
                  <a:pt x="2551787" y="2719384"/>
                  <a:pt x="2551787" y="2656877"/>
                  <a:pt x="2551787" y="2632571"/>
                </a:cubicBezTo>
                <a:lnTo>
                  <a:pt x="2548840" y="2566607"/>
                </a:lnTo>
                <a:lnTo>
                  <a:pt x="2539796" y="2517413"/>
                </a:lnTo>
                <a:cubicBezTo>
                  <a:pt x="2531642" y="2488023"/>
                  <a:pt x="2519215" y="2463595"/>
                  <a:pt x="2502127" y="2431534"/>
                </a:cubicBezTo>
                <a:cubicBezTo>
                  <a:pt x="2467953" y="2364359"/>
                  <a:pt x="2446207" y="2303290"/>
                  <a:pt x="2446207" y="2303290"/>
                </a:cubicBezTo>
                <a:cubicBezTo>
                  <a:pt x="2446207" y="2303290"/>
                  <a:pt x="2446207" y="2303290"/>
                  <a:pt x="2446207" y="2300236"/>
                </a:cubicBezTo>
                <a:cubicBezTo>
                  <a:pt x="2446207" y="2300236"/>
                  <a:pt x="2446207" y="2297183"/>
                  <a:pt x="2446207" y="2297183"/>
                </a:cubicBezTo>
                <a:lnTo>
                  <a:pt x="2452206" y="2263977"/>
                </a:lnTo>
                <a:lnTo>
                  <a:pt x="2452528" y="2261877"/>
                </a:lnTo>
                <a:lnTo>
                  <a:pt x="2452632" y="2261627"/>
                </a:lnTo>
                <a:lnTo>
                  <a:pt x="2453585" y="2256343"/>
                </a:lnTo>
                <a:lnTo>
                  <a:pt x="2461432" y="2240297"/>
                </a:lnTo>
                <a:lnTo>
                  <a:pt x="2465327" y="2230857"/>
                </a:lnTo>
                <a:lnTo>
                  <a:pt x="2467128" y="2228504"/>
                </a:lnTo>
                <a:lnTo>
                  <a:pt x="2465855" y="2220479"/>
                </a:lnTo>
                <a:cubicBezTo>
                  <a:pt x="2458487" y="2169365"/>
                  <a:pt x="2450095" y="2090439"/>
                  <a:pt x="2449634" y="1994037"/>
                </a:cubicBezTo>
                <a:lnTo>
                  <a:pt x="2451718" y="1909727"/>
                </a:lnTo>
                <a:lnTo>
                  <a:pt x="2436271" y="1903696"/>
                </a:lnTo>
                <a:cubicBezTo>
                  <a:pt x="2432354" y="1899874"/>
                  <a:pt x="2430006" y="1894524"/>
                  <a:pt x="2430006" y="1888409"/>
                </a:cubicBezTo>
                <a:cubicBezTo>
                  <a:pt x="2430006" y="1888409"/>
                  <a:pt x="2430006" y="1888409"/>
                  <a:pt x="2430006" y="1851720"/>
                </a:cubicBezTo>
                <a:lnTo>
                  <a:pt x="2430031" y="1851662"/>
                </a:lnTo>
                <a:lnTo>
                  <a:pt x="2436662" y="1834905"/>
                </a:lnTo>
                <a:lnTo>
                  <a:pt x="2451158" y="1828883"/>
                </a:lnTo>
                <a:lnTo>
                  <a:pt x="2449312" y="1779636"/>
                </a:lnTo>
                <a:lnTo>
                  <a:pt x="2402465" y="1779636"/>
                </a:lnTo>
                <a:lnTo>
                  <a:pt x="2402465" y="1720898"/>
                </a:lnTo>
                <a:lnTo>
                  <a:pt x="2447101" y="1720898"/>
                </a:lnTo>
                <a:lnTo>
                  <a:pt x="2446208" y="1697089"/>
                </a:lnTo>
                <a:lnTo>
                  <a:pt x="2446207" y="1697086"/>
                </a:lnTo>
                <a:lnTo>
                  <a:pt x="2445846" y="1697086"/>
                </a:lnTo>
                <a:lnTo>
                  <a:pt x="2445398" y="1697086"/>
                </a:lnTo>
                <a:cubicBezTo>
                  <a:pt x="2445398" y="1697086"/>
                  <a:pt x="2439931" y="1690948"/>
                  <a:pt x="2437195" y="1680973"/>
                </a:cubicBezTo>
                <a:lnTo>
                  <a:pt x="2436537" y="1669670"/>
                </a:lnTo>
                <a:lnTo>
                  <a:pt x="2436488" y="1669463"/>
                </a:lnTo>
                <a:lnTo>
                  <a:pt x="2436519" y="1669370"/>
                </a:lnTo>
                <a:lnTo>
                  <a:pt x="2436172" y="1663421"/>
                </a:lnTo>
                <a:cubicBezTo>
                  <a:pt x="2437195" y="1656803"/>
                  <a:pt x="2439931" y="1649514"/>
                  <a:pt x="2445398" y="1641841"/>
                </a:cubicBezTo>
                <a:lnTo>
                  <a:pt x="2475142" y="1602512"/>
                </a:lnTo>
                <a:lnTo>
                  <a:pt x="2476276" y="1599055"/>
                </a:lnTo>
                <a:lnTo>
                  <a:pt x="2482893" y="1558973"/>
                </a:lnTo>
                <a:lnTo>
                  <a:pt x="2483674" y="1560103"/>
                </a:lnTo>
                <a:lnTo>
                  <a:pt x="2483291" y="1558973"/>
                </a:lnTo>
                <a:cubicBezTo>
                  <a:pt x="2483291" y="1558973"/>
                  <a:pt x="2520735" y="1605011"/>
                  <a:pt x="2520735" y="1647979"/>
                </a:cubicBezTo>
                <a:cubicBezTo>
                  <a:pt x="2520735" y="1657187"/>
                  <a:pt x="2519177" y="1666394"/>
                  <a:pt x="2515275" y="1674834"/>
                </a:cubicBezTo>
                <a:lnTo>
                  <a:pt x="2512393" y="1678124"/>
                </a:lnTo>
                <a:lnTo>
                  <a:pt x="2511900" y="1679696"/>
                </a:lnTo>
                <a:lnTo>
                  <a:pt x="2500361" y="1691850"/>
                </a:lnTo>
                <a:lnTo>
                  <a:pt x="2495772" y="1697086"/>
                </a:lnTo>
                <a:lnTo>
                  <a:pt x="2496433" y="1697086"/>
                </a:lnTo>
                <a:lnTo>
                  <a:pt x="2495537" y="1720898"/>
                </a:lnTo>
                <a:lnTo>
                  <a:pt x="2538555" y="1720898"/>
                </a:lnTo>
                <a:lnTo>
                  <a:pt x="2538557" y="1720898"/>
                </a:lnTo>
                <a:lnTo>
                  <a:pt x="2538557" y="1779636"/>
                </a:lnTo>
                <a:lnTo>
                  <a:pt x="2538555" y="1779636"/>
                </a:lnTo>
                <a:lnTo>
                  <a:pt x="2493330" y="1779636"/>
                </a:lnTo>
                <a:lnTo>
                  <a:pt x="2491064" y="1839961"/>
                </a:lnTo>
                <a:lnTo>
                  <a:pt x="2492381" y="1839961"/>
                </a:lnTo>
                <a:cubicBezTo>
                  <a:pt x="2498322" y="1839961"/>
                  <a:pt x="2501294" y="1842960"/>
                  <a:pt x="2501294" y="1848957"/>
                </a:cubicBezTo>
                <a:lnTo>
                  <a:pt x="2501294" y="1852661"/>
                </a:lnTo>
                <a:lnTo>
                  <a:pt x="2501833" y="1852661"/>
                </a:lnTo>
                <a:lnTo>
                  <a:pt x="2501833" y="1857548"/>
                </a:lnTo>
                <a:lnTo>
                  <a:pt x="2501959" y="1857424"/>
                </a:lnTo>
                <a:cubicBezTo>
                  <a:pt x="2501959" y="1869625"/>
                  <a:pt x="2501959" y="1894027"/>
                  <a:pt x="2501959" y="1900128"/>
                </a:cubicBezTo>
                <a:lnTo>
                  <a:pt x="2501833" y="1900321"/>
                </a:lnTo>
                <a:lnTo>
                  <a:pt x="2501833" y="1901315"/>
                </a:lnTo>
                <a:cubicBezTo>
                  <a:pt x="2501833" y="1904355"/>
                  <a:pt x="2498729" y="1907396"/>
                  <a:pt x="2495623" y="1910817"/>
                </a:cubicBezTo>
                <a:lnTo>
                  <a:pt x="2489608" y="1922226"/>
                </a:lnTo>
                <a:lnTo>
                  <a:pt x="2490054" y="1930703"/>
                </a:lnTo>
                <a:lnTo>
                  <a:pt x="2494440" y="1986107"/>
                </a:lnTo>
                <a:lnTo>
                  <a:pt x="2500141" y="2023322"/>
                </a:lnTo>
                <a:lnTo>
                  <a:pt x="2508793" y="2060558"/>
                </a:lnTo>
                <a:lnTo>
                  <a:pt x="2518318" y="2098634"/>
                </a:lnTo>
                <a:cubicBezTo>
                  <a:pt x="2525578" y="2123179"/>
                  <a:pt x="2534481" y="2149487"/>
                  <a:pt x="2545321" y="2177702"/>
                </a:cubicBezTo>
                <a:lnTo>
                  <a:pt x="2545659" y="2178866"/>
                </a:lnTo>
                <a:lnTo>
                  <a:pt x="2545838" y="2178843"/>
                </a:lnTo>
                <a:lnTo>
                  <a:pt x="2545621" y="2178099"/>
                </a:lnTo>
                <a:lnTo>
                  <a:pt x="2551787" y="2178099"/>
                </a:lnTo>
                <a:lnTo>
                  <a:pt x="2551835" y="2178099"/>
                </a:lnTo>
                <a:cubicBezTo>
                  <a:pt x="2551835" y="2178099"/>
                  <a:pt x="2554940" y="2178099"/>
                  <a:pt x="2554940" y="2178099"/>
                </a:cubicBezTo>
                <a:lnTo>
                  <a:pt x="2559630" y="2191926"/>
                </a:lnTo>
                <a:lnTo>
                  <a:pt x="2562207" y="2196470"/>
                </a:lnTo>
                <a:lnTo>
                  <a:pt x="2565540" y="2196182"/>
                </a:lnTo>
                <a:cubicBezTo>
                  <a:pt x="2567690" y="2195996"/>
                  <a:pt x="2570915" y="2195717"/>
                  <a:pt x="2575757" y="2195298"/>
                </a:cubicBezTo>
                <a:lnTo>
                  <a:pt x="2588432" y="2194201"/>
                </a:lnTo>
                <a:lnTo>
                  <a:pt x="2645482" y="2187624"/>
                </a:lnTo>
                <a:lnTo>
                  <a:pt x="2645482" y="2187237"/>
                </a:lnTo>
                <a:lnTo>
                  <a:pt x="2646492" y="2187237"/>
                </a:lnTo>
                <a:lnTo>
                  <a:pt x="2650822" y="2171884"/>
                </a:lnTo>
                <a:lnTo>
                  <a:pt x="2651353" y="2168254"/>
                </a:lnTo>
                <a:lnTo>
                  <a:pt x="2554786" y="2117788"/>
                </a:lnTo>
                <a:lnTo>
                  <a:pt x="2554757" y="2117774"/>
                </a:lnTo>
                <a:lnTo>
                  <a:pt x="2554761" y="2117775"/>
                </a:lnTo>
                <a:lnTo>
                  <a:pt x="2554759" y="2117774"/>
                </a:lnTo>
                <a:lnTo>
                  <a:pt x="2664611" y="2147603"/>
                </a:lnTo>
                <a:lnTo>
                  <a:pt x="2671887" y="2142865"/>
                </a:lnTo>
                <a:lnTo>
                  <a:pt x="2675375" y="2139162"/>
                </a:lnTo>
                <a:lnTo>
                  <a:pt x="2682527" y="2135713"/>
                </a:lnTo>
                <a:lnTo>
                  <a:pt x="2605626" y="2056524"/>
                </a:lnTo>
                <a:lnTo>
                  <a:pt x="2604981" y="2055862"/>
                </a:lnTo>
                <a:lnTo>
                  <a:pt x="2604986" y="2055865"/>
                </a:lnTo>
                <a:lnTo>
                  <a:pt x="2604983" y="2055862"/>
                </a:lnTo>
                <a:lnTo>
                  <a:pt x="2605280" y="2056059"/>
                </a:lnTo>
                <a:lnTo>
                  <a:pt x="2606576" y="2056911"/>
                </a:lnTo>
                <a:cubicBezTo>
                  <a:pt x="2611360" y="2060060"/>
                  <a:pt x="2630498" y="2072653"/>
                  <a:pt x="2707043" y="2123025"/>
                </a:cubicBezTo>
                <a:lnTo>
                  <a:pt x="2706653" y="2123217"/>
                </a:lnTo>
                <a:lnTo>
                  <a:pt x="2707402" y="2123713"/>
                </a:lnTo>
                <a:lnTo>
                  <a:pt x="2707816" y="2123512"/>
                </a:lnTo>
                <a:lnTo>
                  <a:pt x="2710536" y="2123120"/>
                </a:lnTo>
                <a:lnTo>
                  <a:pt x="2735173" y="2117774"/>
                </a:lnTo>
                <a:lnTo>
                  <a:pt x="2734586" y="2117774"/>
                </a:lnTo>
                <a:cubicBezTo>
                  <a:pt x="2734586" y="2117774"/>
                  <a:pt x="2734586" y="2117774"/>
                  <a:pt x="2747547" y="1992361"/>
                </a:cubicBezTo>
                <a:lnTo>
                  <a:pt x="2763057" y="2120014"/>
                </a:lnTo>
                <a:lnTo>
                  <a:pt x="2787277" y="2123512"/>
                </a:lnTo>
                <a:lnTo>
                  <a:pt x="2789568" y="2124617"/>
                </a:lnTo>
                <a:lnTo>
                  <a:pt x="2893362" y="2055862"/>
                </a:lnTo>
                <a:lnTo>
                  <a:pt x="2814777" y="2136777"/>
                </a:lnTo>
                <a:lnTo>
                  <a:pt x="2819722" y="2139162"/>
                </a:lnTo>
                <a:lnTo>
                  <a:pt x="2828908" y="2148911"/>
                </a:lnTo>
                <a:lnTo>
                  <a:pt x="2943581" y="2117774"/>
                </a:lnTo>
                <a:lnTo>
                  <a:pt x="2843735" y="2169955"/>
                </a:lnTo>
                <a:lnTo>
                  <a:pt x="2848583" y="2187131"/>
                </a:lnTo>
                <a:lnTo>
                  <a:pt x="2963021" y="2200324"/>
                </a:lnTo>
                <a:lnTo>
                  <a:pt x="2847368" y="2209657"/>
                </a:lnTo>
                <a:lnTo>
                  <a:pt x="2862495" y="2392463"/>
                </a:lnTo>
                <a:lnTo>
                  <a:pt x="2872400" y="2393569"/>
                </a:lnTo>
                <a:cubicBezTo>
                  <a:pt x="2883024" y="2395183"/>
                  <a:pt x="2892197" y="2397328"/>
                  <a:pt x="2899571" y="2400759"/>
                </a:cubicBezTo>
                <a:cubicBezTo>
                  <a:pt x="2939937" y="2419060"/>
                  <a:pt x="2930620" y="2498364"/>
                  <a:pt x="2936831" y="2544116"/>
                </a:cubicBezTo>
                <a:cubicBezTo>
                  <a:pt x="2936831" y="2550217"/>
                  <a:pt x="3005140" y="2589868"/>
                  <a:pt x="3005140" y="2589868"/>
                </a:cubicBezTo>
                <a:cubicBezTo>
                  <a:pt x="3005140" y="2589868"/>
                  <a:pt x="3005140" y="2589868"/>
                  <a:pt x="2946144" y="2647821"/>
                </a:cubicBezTo>
                <a:cubicBezTo>
                  <a:pt x="2946144" y="2647821"/>
                  <a:pt x="2946144" y="2647821"/>
                  <a:pt x="2946144" y="3137771"/>
                </a:cubicBezTo>
                <a:lnTo>
                  <a:pt x="2946144" y="3144925"/>
                </a:lnTo>
                <a:lnTo>
                  <a:pt x="2997042" y="3184576"/>
                </a:lnTo>
                <a:lnTo>
                  <a:pt x="2997042" y="3532239"/>
                </a:lnTo>
                <a:lnTo>
                  <a:pt x="2946144" y="3532239"/>
                </a:lnTo>
                <a:lnTo>
                  <a:pt x="2946144" y="3532240"/>
                </a:lnTo>
                <a:lnTo>
                  <a:pt x="3055361" y="3532240"/>
                </a:lnTo>
                <a:lnTo>
                  <a:pt x="3055361" y="3592565"/>
                </a:lnTo>
                <a:lnTo>
                  <a:pt x="3065098" y="3592565"/>
                </a:lnTo>
                <a:lnTo>
                  <a:pt x="3065098" y="3587748"/>
                </a:lnTo>
                <a:cubicBezTo>
                  <a:pt x="3065098" y="3570793"/>
                  <a:pt x="3065098" y="3502971"/>
                  <a:pt x="3065098" y="3231684"/>
                </a:cubicBezTo>
                <a:lnTo>
                  <a:pt x="3065098" y="3154414"/>
                </a:lnTo>
                <a:lnTo>
                  <a:pt x="3065066" y="3154414"/>
                </a:lnTo>
                <a:cubicBezTo>
                  <a:pt x="3065066" y="3154414"/>
                  <a:pt x="3065066" y="3154414"/>
                  <a:pt x="3065066" y="3108531"/>
                </a:cubicBezTo>
                <a:lnTo>
                  <a:pt x="3065098" y="3108531"/>
                </a:lnTo>
                <a:lnTo>
                  <a:pt x="3065098" y="3108528"/>
                </a:lnTo>
                <a:lnTo>
                  <a:pt x="3065098" y="3105391"/>
                </a:lnTo>
                <a:cubicBezTo>
                  <a:pt x="3065098" y="3103676"/>
                  <a:pt x="3065098" y="3101104"/>
                  <a:pt x="3065098" y="3097246"/>
                </a:cubicBezTo>
                <a:lnTo>
                  <a:pt x="3065098" y="3081388"/>
                </a:lnTo>
                <a:lnTo>
                  <a:pt x="3065066" y="3081388"/>
                </a:lnTo>
                <a:cubicBezTo>
                  <a:pt x="3065066" y="3081388"/>
                  <a:pt x="3065066" y="3081388"/>
                  <a:pt x="3065066" y="3035574"/>
                </a:cubicBezTo>
                <a:lnTo>
                  <a:pt x="3065098" y="3035574"/>
                </a:lnTo>
                <a:lnTo>
                  <a:pt x="3065098" y="3035572"/>
                </a:lnTo>
                <a:cubicBezTo>
                  <a:pt x="3065098" y="3035572"/>
                  <a:pt x="3065098" y="3035572"/>
                  <a:pt x="3177531" y="3035572"/>
                </a:cubicBezTo>
                <a:lnTo>
                  <a:pt x="3232896" y="3035572"/>
                </a:lnTo>
                <a:lnTo>
                  <a:pt x="3236004" y="3020303"/>
                </a:lnTo>
                <a:lnTo>
                  <a:pt x="3252598" y="2975501"/>
                </a:lnTo>
                <a:lnTo>
                  <a:pt x="3263525" y="2942132"/>
                </a:lnTo>
                <a:lnTo>
                  <a:pt x="3266370" y="2938321"/>
                </a:lnTo>
                <a:lnTo>
                  <a:pt x="3268299" y="2933115"/>
                </a:lnTo>
                <a:lnTo>
                  <a:pt x="3296802" y="2897562"/>
                </a:lnTo>
                <a:lnTo>
                  <a:pt x="3319180" y="2867590"/>
                </a:lnTo>
                <a:lnTo>
                  <a:pt x="3323712" y="2863997"/>
                </a:lnTo>
                <a:lnTo>
                  <a:pt x="3324197" y="2863393"/>
                </a:lnTo>
                <a:lnTo>
                  <a:pt x="3325509" y="2862572"/>
                </a:lnTo>
                <a:lnTo>
                  <a:pt x="3354767" y="2839375"/>
                </a:lnTo>
                <a:cubicBezTo>
                  <a:pt x="3367381" y="2831107"/>
                  <a:pt x="3380712" y="2824020"/>
                  <a:pt x="3394651" y="2818246"/>
                </a:cubicBezTo>
                <a:lnTo>
                  <a:pt x="3398079" y="2817202"/>
                </a:lnTo>
                <a:lnTo>
                  <a:pt x="3398161" y="2817150"/>
                </a:lnTo>
                <a:lnTo>
                  <a:pt x="3401255" y="2816234"/>
                </a:lnTo>
                <a:lnTo>
                  <a:pt x="3438177" y="2804991"/>
                </a:lnTo>
                <a:lnTo>
                  <a:pt x="3439784" y="2804832"/>
                </a:lnTo>
                <a:lnTo>
                  <a:pt x="3440188" y="2804713"/>
                </a:lnTo>
                <a:cubicBezTo>
                  <a:pt x="3454642" y="2801879"/>
                  <a:pt x="3469504" y="2800400"/>
                  <a:pt x="3484655" y="2800400"/>
                </a:cubicBezTo>
                <a:lnTo>
                  <a:pt x="3484655" y="2800401"/>
                </a:lnTo>
                <a:lnTo>
                  <a:pt x="3484691" y="2800398"/>
                </a:lnTo>
                <a:cubicBezTo>
                  <a:pt x="3609018" y="2800398"/>
                  <a:pt x="3714696" y="2901187"/>
                  <a:pt x="3733345" y="3035572"/>
                </a:cubicBezTo>
                <a:cubicBezTo>
                  <a:pt x="3733345" y="3035572"/>
                  <a:pt x="3733345" y="3035572"/>
                  <a:pt x="3847868" y="3035572"/>
                </a:cubicBezTo>
                <a:lnTo>
                  <a:pt x="3883174" y="3035572"/>
                </a:lnTo>
                <a:lnTo>
                  <a:pt x="3883174" y="2983115"/>
                </a:lnTo>
                <a:lnTo>
                  <a:pt x="3883174" y="2968827"/>
                </a:lnTo>
                <a:lnTo>
                  <a:pt x="3883174" y="2897387"/>
                </a:lnTo>
                <a:lnTo>
                  <a:pt x="3883174" y="2883099"/>
                </a:lnTo>
                <a:lnTo>
                  <a:pt x="3883174" y="2813247"/>
                </a:lnTo>
                <a:lnTo>
                  <a:pt x="3883174" y="2797371"/>
                </a:lnTo>
                <a:lnTo>
                  <a:pt x="3883174" y="2727519"/>
                </a:lnTo>
                <a:lnTo>
                  <a:pt x="3883174" y="2711643"/>
                </a:lnTo>
                <a:lnTo>
                  <a:pt x="3883174" y="2641791"/>
                </a:lnTo>
                <a:lnTo>
                  <a:pt x="3883174" y="2625915"/>
                </a:lnTo>
                <a:lnTo>
                  <a:pt x="3883174" y="2556063"/>
                </a:lnTo>
                <a:lnTo>
                  <a:pt x="3883174" y="2541775"/>
                </a:lnTo>
                <a:lnTo>
                  <a:pt x="3883196" y="2541775"/>
                </a:lnTo>
                <a:lnTo>
                  <a:pt x="3883196" y="2541774"/>
                </a:lnTo>
                <a:lnTo>
                  <a:pt x="3883174" y="2541774"/>
                </a:lnTo>
                <a:lnTo>
                  <a:pt x="3883174" y="2471922"/>
                </a:lnTo>
                <a:lnTo>
                  <a:pt x="3883174" y="2456046"/>
                </a:lnTo>
                <a:lnTo>
                  <a:pt x="3883174" y="2386194"/>
                </a:lnTo>
                <a:lnTo>
                  <a:pt x="3883174" y="2370318"/>
                </a:lnTo>
                <a:lnTo>
                  <a:pt x="3883174" y="2300466"/>
                </a:lnTo>
                <a:lnTo>
                  <a:pt x="3883174" y="2284590"/>
                </a:lnTo>
                <a:lnTo>
                  <a:pt x="3883174" y="2214738"/>
                </a:lnTo>
                <a:lnTo>
                  <a:pt x="3883174" y="2200450"/>
                </a:lnTo>
                <a:lnTo>
                  <a:pt x="3883174" y="2129010"/>
                </a:lnTo>
                <a:lnTo>
                  <a:pt x="3883174" y="2114722"/>
                </a:lnTo>
                <a:lnTo>
                  <a:pt x="3883196" y="2114722"/>
                </a:lnTo>
                <a:lnTo>
                  <a:pt x="3883196" y="2114721"/>
                </a:lnTo>
                <a:lnTo>
                  <a:pt x="3883174" y="2114721"/>
                </a:lnTo>
                <a:lnTo>
                  <a:pt x="3883174" y="2044870"/>
                </a:lnTo>
                <a:lnTo>
                  <a:pt x="3883174" y="2044869"/>
                </a:lnTo>
                <a:lnTo>
                  <a:pt x="3883174" y="2028994"/>
                </a:lnTo>
                <a:lnTo>
                  <a:pt x="3883196" y="2028994"/>
                </a:lnTo>
                <a:lnTo>
                  <a:pt x="3883196" y="2028993"/>
                </a:lnTo>
                <a:lnTo>
                  <a:pt x="3883174" y="2028993"/>
                </a:lnTo>
                <a:lnTo>
                  <a:pt x="3883174" y="1959142"/>
                </a:lnTo>
                <a:lnTo>
                  <a:pt x="3883174" y="1959141"/>
                </a:lnTo>
                <a:lnTo>
                  <a:pt x="3883174" y="1943266"/>
                </a:lnTo>
                <a:lnTo>
                  <a:pt x="3883174" y="1873414"/>
                </a:lnTo>
                <a:lnTo>
                  <a:pt x="3883174" y="1873413"/>
                </a:lnTo>
                <a:lnTo>
                  <a:pt x="3883174" y="1857538"/>
                </a:lnTo>
                <a:lnTo>
                  <a:pt x="3883174" y="1787685"/>
                </a:lnTo>
                <a:lnTo>
                  <a:pt x="3883174" y="1773397"/>
                </a:lnTo>
                <a:lnTo>
                  <a:pt x="3883174" y="1703545"/>
                </a:lnTo>
                <a:lnTo>
                  <a:pt x="3883174" y="1687669"/>
                </a:lnTo>
                <a:lnTo>
                  <a:pt x="3883174" y="1617817"/>
                </a:lnTo>
                <a:lnTo>
                  <a:pt x="3883174" y="1601941"/>
                </a:lnTo>
                <a:lnTo>
                  <a:pt x="3883174" y="1532089"/>
                </a:lnTo>
                <a:lnTo>
                  <a:pt x="3883174" y="1532088"/>
                </a:lnTo>
                <a:lnTo>
                  <a:pt x="3883174" y="1516213"/>
                </a:lnTo>
                <a:lnTo>
                  <a:pt x="3883174" y="1446361"/>
                </a:lnTo>
                <a:lnTo>
                  <a:pt x="3883174" y="1446360"/>
                </a:lnTo>
                <a:lnTo>
                  <a:pt x="3883174" y="1432073"/>
                </a:lnTo>
                <a:lnTo>
                  <a:pt x="3883196" y="1432073"/>
                </a:lnTo>
                <a:lnTo>
                  <a:pt x="3883196" y="1432072"/>
                </a:lnTo>
                <a:lnTo>
                  <a:pt x="3883174" y="1432072"/>
                </a:lnTo>
                <a:lnTo>
                  <a:pt x="3883174" y="1376508"/>
                </a:lnTo>
                <a:lnTo>
                  <a:pt x="3883174" y="1349520"/>
                </a:lnTo>
                <a:lnTo>
                  <a:pt x="3883196" y="1349520"/>
                </a:lnTo>
                <a:lnTo>
                  <a:pt x="3883196" y="1349421"/>
                </a:lnTo>
                <a:lnTo>
                  <a:pt x="3951218" y="1349421"/>
                </a:lnTo>
                <a:lnTo>
                  <a:pt x="3951218" y="1257441"/>
                </a:lnTo>
                <a:lnTo>
                  <a:pt x="3951218" y="1230453"/>
                </a:lnTo>
                <a:lnTo>
                  <a:pt x="3951239" y="1230453"/>
                </a:lnTo>
                <a:lnTo>
                  <a:pt x="3951239" y="1230359"/>
                </a:lnTo>
                <a:lnTo>
                  <a:pt x="4007942" y="1230359"/>
                </a:lnTo>
                <a:lnTo>
                  <a:pt x="4010692" y="1226414"/>
                </a:lnTo>
                <a:lnTo>
                  <a:pt x="4137527" y="1041534"/>
                </a:lnTo>
                <a:lnTo>
                  <a:pt x="4139543" y="1041534"/>
                </a:lnTo>
                <a:lnTo>
                  <a:pt x="4139543" y="1041533"/>
                </a:lnTo>
                <a:lnTo>
                  <a:pt x="4137527" y="1041533"/>
                </a:lnTo>
                <a:lnTo>
                  <a:pt x="4095405" y="1041533"/>
                </a:lnTo>
                <a:lnTo>
                  <a:pt x="4095405" y="992319"/>
                </a:lnTo>
                <a:lnTo>
                  <a:pt x="4095426" y="992319"/>
                </a:lnTo>
                <a:lnTo>
                  <a:pt x="4095426" y="992233"/>
                </a:lnTo>
                <a:lnTo>
                  <a:pt x="4178028" y="992233"/>
                </a:lnTo>
                <a:lnTo>
                  <a:pt x="4178028" y="990454"/>
                </a:lnTo>
                <a:cubicBezTo>
                  <a:pt x="4178028" y="984163"/>
                  <a:pt x="4178028" y="959000"/>
                  <a:pt x="4178028" y="858349"/>
                </a:cubicBezTo>
                <a:lnTo>
                  <a:pt x="4178051" y="858349"/>
                </a:lnTo>
                <a:lnTo>
                  <a:pt x="4178051" y="857377"/>
                </a:lnTo>
                <a:lnTo>
                  <a:pt x="4178029" y="857377"/>
                </a:lnTo>
                <a:lnTo>
                  <a:pt x="4153727" y="857377"/>
                </a:lnTo>
                <a:lnTo>
                  <a:pt x="4153727" y="836739"/>
                </a:lnTo>
                <a:lnTo>
                  <a:pt x="4153749" y="836739"/>
                </a:lnTo>
                <a:lnTo>
                  <a:pt x="4153749" y="836658"/>
                </a:lnTo>
                <a:lnTo>
                  <a:pt x="4178028" y="836658"/>
                </a:lnTo>
                <a:lnTo>
                  <a:pt x="4178028" y="834616"/>
                </a:lnTo>
                <a:cubicBezTo>
                  <a:pt x="4178028" y="827467"/>
                  <a:pt x="4178028" y="798873"/>
                  <a:pt x="4178028" y="684497"/>
                </a:cubicBezTo>
                <a:lnTo>
                  <a:pt x="4178051" y="684497"/>
                </a:lnTo>
                <a:lnTo>
                  <a:pt x="4178051" y="684333"/>
                </a:lnTo>
                <a:lnTo>
                  <a:pt x="4178029" y="684333"/>
                </a:lnTo>
                <a:lnTo>
                  <a:pt x="4153727" y="684333"/>
                </a:lnTo>
                <a:lnTo>
                  <a:pt x="4153727" y="663695"/>
                </a:lnTo>
                <a:lnTo>
                  <a:pt x="4153749" y="663695"/>
                </a:lnTo>
                <a:lnTo>
                  <a:pt x="4153749" y="663620"/>
                </a:lnTo>
                <a:lnTo>
                  <a:pt x="4178051" y="663620"/>
                </a:lnTo>
                <a:lnTo>
                  <a:pt x="4178051" y="663147"/>
                </a:lnTo>
                <a:lnTo>
                  <a:pt x="4178028" y="663147"/>
                </a:lnTo>
                <a:cubicBezTo>
                  <a:pt x="4178028" y="663147"/>
                  <a:pt x="4178028" y="663147"/>
                  <a:pt x="4178028" y="560982"/>
                </a:cubicBezTo>
                <a:lnTo>
                  <a:pt x="4178028" y="511290"/>
                </a:lnTo>
                <a:lnTo>
                  <a:pt x="4153727" y="511290"/>
                </a:lnTo>
                <a:lnTo>
                  <a:pt x="4153727" y="489064"/>
                </a:lnTo>
                <a:lnTo>
                  <a:pt x="4153749" y="489064"/>
                </a:lnTo>
                <a:lnTo>
                  <a:pt x="4153749" y="488994"/>
                </a:lnTo>
                <a:lnTo>
                  <a:pt x="4178028" y="488994"/>
                </a:lnTo>
                <a:lnTo>
                  <a:pt x="4178028" y="486864"/>
                </a:lnTo>
                <a:cubicBezTo>
                  <a:pt x="4178028" y="479573"/>
                  <a:pt x="4178028" y="450407"/>
                  <a:pt x="4178028" y="333743"/>
                </a:cubicBezTo>
                <a:lnTo>
                  <a:pt x="4178051" y="333743"/>
                </a:lnTo>
                <a:lnTo>
                  <a:pt x="4178051" y="333483"/>
                </a:lnTo>
                <a:lnTo>
                  <a:pt x="4178029" y="333483"/>
                </a:lnTo>
                <a:lnTo>
                  <a:pt x="4153727" y="333483"/>
                </a:lnTo>
                <a:lnTo>
                  <a:pt x="4153727" y="316020"/>
                </a:lnTo>
                <a:lnTo>
                  <a:pt x="4153749" y="316020"/>
                </a:lnTo>
                <a:lnTo>
                  <a:pt x="4153749" y="315956"/>
                </a:lnTo>
                <a:lnTo>
                  <a:pt x="4178051" y="315956"/>
                </a:lnTo>
                <a:lnTo>
                  <a:pt x="4178051" y="315443"/>
                </a:lnTo>
                <a:lnTo>
                  <a:pt x="4178028" y="315443"/>
                </a:lnTo>
                <a:cubicBezTo>
                  <a:pt x="4178028" y="315443"/>
                  <a:pt x="4178028" y="315443"/>
                  <a:pt x="4178028" y="233092"/>
                </a:cubicBezTo>
                <a:lnTo>
                  <a:pt x="4178051" y="233071"/>
                </a:lnTo>
                <a:lnTo>
                  <a:pt x="4178051" y="233031"/>
                </a:lnTo>
                <a:cubicBezTo>
                  <a:pt x="4178051" y="226931"/>
                  <a:pt x="4181291" y="223881"/>
                  <a:pt x="4187771" y="223881"/>
                </a:cubicBezTo>
                <a:close/>
                <a:moveTo>
                  <a:pt x="8553199" y="0"/>
                </a:moveTo>
                <a:lnTo>
                  <a:pt x="8580741" y="0"/>
                </a:lnTo>
                <a:lnTo>
                  <a:pt x="8580741" y="163512"/>
                </a:lnTo>
                <a:lnTo>
                  <a:pt x="8608282" y="163512"/>
                </a:lnTo>
                <a:lnTo>
                  <a:pt x="8608282" y="163513"/>
                </a:lnTo>
                <a:lnTo>
                  <a:pt x="8608282" y="290512"/>
                </a:lnTo>
                <a:lnTo>
                  <a:pt x="8608282" y="301625"/>
                </a:lnTo>
                <a:lnTo>
                  <a:pt x="8608282" y="427037"/>
                </a:lnTo>
                <a:lnTo>
                  <a:pt x="8634203" y="427037"/>
                </a:lnTo>
                <a:lnTo>
                  <a:pt x="8634203" y="549275"/>
                </a:lnTo>
                <a:lnTo>
                  <a:pt x="8634203" y="755650"/>
                </a:lnTo>
                <a:lnTo>
                  <a:pt x="8637443" y="755650"/>
                </a:lnTo>
                <a:lnTo>
                  <a:pt x="8655264" y="755650"/>
                </a:lnTo>
                <a:lnTo>
                  <a:pt x="8655265" y="755650"/>
                </a:lnTo>
                <a:lnTo>
                  <a:pt x="8655265" y="933450"/>
                </a:lnTo>
                <a:lnTo>
                  <a:pt x="8655265" y="1084262"/>
                </a:lnTo>
                <a:lnTo>
                  <a:pt x="8656884" y="1084262"/>
                </a:lnTo>
                <a:lnTo>
                  <a:pt x="8716827" y="1084262"/>
                </a:lnTo>
                <a:lnTo>
                  <a:pt x="8716827" y="1084263"/>
                </a:lnTo>
                <a:lnTo>
                  <a:pt x="8711967" y="1447800"/>
                </a:lnTo>
                <a:lnTo>
                  <a:pt x="8711967" y="1460500"/>
                </a:lnTo>
                <a:lnTo>
                  <a:pt x="8711967" y="1757362"/>
                </a:lnTo>
                <a:lnTo>
                  <a:pt x="8778390" y="1757362"/>
                </a:lnTo>
                <a:lnTo>
                  <a:pt x="8778390" y="2146891"/>
                </a:lnTo>
                <a:lnTo>
                  <a:pt x="8780899" y="2146891"/>
                </a:lnTo>
                <a:cubicBezTo>
                  <a:pt x="8790384" y="2146891"/>
                  <a:pt x="8828331" y="2146891"/>
                  <a:pt x="8980115" y="2146891"/>
                </a:cubicBezTo>
                <a:cubicBezTo>
                  <a:pt x="8980115" y="2146891"/>
                  <a:pt x="8980115" y="2146891"/>
                  <a:pt x="8980115" y="2586156"/>
                </a:cubicBezTo>
                <a:cubicBezTo>
                  <a:pt x="8980115" y="2586156"/>
                  <a:pt x="8980115" y="2586156"/>
                  <a:pt x="9033913" y="2586156"/>
                </a:cubicBezTo>
                <a:cubicBezTo>
                  <a:pt x="9033913" y="2586156"/>
                  <a:pt x="9033913" y="2586156"/>
                  <a:pt x="9033913" y="2960159"/>
                </a:cubicBezTo>
                <a:cubicBezTo>
                  <a:pt x="9033913" y="2960159"/>
                  <a:pt x="9033913" y="2960159"/>
                  <a:pt x="9005734" y="2960159"/>
                </a:cubicBezTo>
                <a:lnTo>
                  <a:pt x="9005734" y="2960611"/>
                </a:lnTo>
                <a:lnTo>
                  <a:pt x="9034385" y="2960611"/>
                </a:lnTo>
                <a:lnTo>
                  <a:pt x="9034385" y="1425611"/>
                </a:lnTo>
                <a:lnTo>
                  <a:pt x="9034496" y="1425611"/>
                </a:lnTo>
                <a:lnTo>
                  <a:pt x="9034496" y="1402557"/>
                </a:lnTo>
                <a:lnTo>
                  <a:pt x="9034385" y="1401799"/>
                </a:lnTo>
                <a:lnTo>
                  <a:pt x="9034496" y="1400931"/>
                </a:lnTo>
                <a:lnTo>
                  <a:pt x="9034496" y="1377994"/>
                </a:lnTo>
                <a:lnTo>
                  <a:pt x="9037436" y="1377994"/>
                </a:lnTo>
                <a:lnTo>
                  <a:pt x="9046280" y="1309006"/>
                </a:lnTo>
                <a:cubicBezTo>
                  <a:pt x="9069366" y="1222202"/>
                  <a:pt x="9123913" y="1156277"/>
                  <a:pt x="9190908" y="1137403"/>
                </a:cubicBezTo>
                <a:lnTo>
                  <a:pt x="9207733" y="1135068"/>
                </a:lnTo>
                <a:lnTo>
                  <a:pt x="9207733" y="893792"/>
                </a:lnTo>
                <a:lnTo>
                  <a:pt x="9251476" y="893792"/>
                </a:lnTo>
                <a:lnTo>
                  <a:pt x="9251476" y="1134843"/>
                </a:lnTo>
                <a:lnTo>
                  <a:pt x="9269921" y="1137403"/>
                </a:lnTo>
                <a:cubicBezTo>
                  <a:pt x="9336916" y="1156277"/>
                  <a:pt x="9391462" y="1222202"/>
                  <a:pt x="9414549" y="1309006"/>
                </a:cubicBezTo>
                <a:lnTo>
                  <a:pt x="9423392" y="1377994"/>
                </a:lnTo>
                <a:lnTo>
                  <a:pt x="9426562" y="1377994"/>
                </a:lnTo>
                <a:lnTo>
                  <a:pt x="9426562" y="1425620"/>
                </a:lnTo>
                <a:lnTo>
                  <a:pt x="9426444" y="1425620"/>
                </a:lnTo>
                <a:lnTo>
                  <a:pt x="9426444" y="2312557"/>
                </a:lnTo>
                <a:lnTo>
                  <a:pt x="9427505" y="2312557"/>
                </a:lnTo>
                <a:cubicBezTo>
                  <a:pt x="9432428" y="2312557"/>
                  <a:pt x="9452122" y="2312557"/>
                  <a:pt x="9530896" y="2312557"/>
                </a:cubicBezTo>
                <a:cubicBezTo>
                  <a:pt x="9530896" y="2312557"/>
                  <a:pt x="9530896" y="2312557"/>
                  <a:pt x="9530896" y="2960159"/>
                </a:cubicBezTo>
                <a:cubicBezTo>
                  <a:pt x="9530896" y="2960159"/>
                  <a:pt x="9530896" y="2960159"/>
                  <a:pt x="9486586" y="2960159"/>
                </a:cubicBezTo>
                <a:lnTo>
                  <a:pt x="9426444" y="2960159"/>
                </a:lnTo>
                <a:lnTo>
                  <a:pt x="9426444" y="2960611"/>
                </a:lnTo>
                <a:lnTo>
                  <a:pt x="9531754" y="2960611"/>
                </a:lnTo>
                <a:lnTo>
                  <a:pt x="9531754" y="2932037"/>
                </a:lnTo>
                <a:lnTo>
                  <a:pt x="9531754" y="2909812"/>
                </a:lnTo>
                <a:lnTo>
                  <a:pt x="9531754" y="2874887"/>
                </a:lnTo>
                <a:lnTo>
                  <a:pt x="9531754" y="2854250"/>
                </a:lnTo>
                <a:lnTo>
                  <a:pt x="9531754" y="2817738"/>
                </a:lnTo>
                <a:lnTo>
                  <a:pt x="9531754" y="2797101"/>
                </a:lnTo>
                <a:lnTo>
                  <a:pt x="9531754" y="2759002"/>
                </a:lnTo>
                <a:lnTo>
                  <a:pt x="9531754" y="2739952"/>
                </a:lnTo>
                <a:lnTo>
                  <a:pt x="9531754" y="2701853"/>
                </a:lnTo>
                <a:lnTo>
                  <a:pt x="9531754" y="2681216"/>
                </a:lnTo>
                <a:lnTo>
                  <a:pt x="9531754" y="2643117"/>
                </a:lnTo>
                <a:lnTo>
                  <a:pt x="9531754" y="2624067"/>
                </a:lnTo>
                <a:lnTo>
                  <a:pt x="9531754" y="2585967"/>
                </a:lnTo>
                <a:lnTo>
                  <a:pt x="9531754" y="2565330"/>
                </a:lnTo>
                <a:lnTo>
                  <a:pt x="9531754" y="2528818"/>
                </a:lnTo>
                <a:lnTo>
                  <a:pt x="9531754" y="2508181"/>
                </a:lnTo>
                <a:lnTo>
                  <a:pt x="9531754" y="2470082"/>
                </a:lnTo>
                <a:lnTo>
                  <a:pt x="9531754" y="2451032"/>
                </a:lnTo>
                <a:lnTo>
                  <a:pt x="9531754" y="2412933"/>
                </a:lnTo>
                <a:lnTo>
                  <a:pt x="9531754" y="2392296"/>
                </a:lnTo>
                <a:lnTo>
                  <a:pt x="9531754" y="2355784"/>
                </a:lnTo>
                <a:lnTo>
                  <a:pt x="9531754" y="2335147"/>
                </a:lnTo>
                <a:lnTo>
                  <a:pt x="9531754" y="2297047"/>
                </a:lnTo>
                <a:lnTo>
                  <a:pt x="9531754" y="2276410"/>
                </a:lnTo>
                <a:lnTo>
                  <a:pt x="9531754" y="2239898"/>
                </a:lnTo>
                <a:lnTo>
                  <a:pt x="9531754" y="2219261"/>
                </a:lnTo>
                <a:lnTo>
                  <a:pt x="9531754" y="2184337"/>
                </a:lnTo>
                <a:lnTo>
                  <a:pt x="9531754" y="2162112"/>
                </a:lnTo>
                <a:lnTo>
                  <a:pt x="9531754" y="2127188"/>
                </a:lnTo>
                <a:lnTo>
                  <a:pt x="9531754" y="2103376"/>
                </a:lnTo>
                <a:lnTo>
                  <a:pt x="9531754" y="2041464"/>
                </a:lnTo>
                <a:lnTo>
                  <a:pt x="9586837" y="2041464"/>
                </a:lnTo>
                <a:lnTo>
                  <a:pt x="9586837" y="2003544"/>
                </a:lnTo>
                <a:lnTo>
                  <a:pt x="9585197" y="2003544"/>
                </a:lnTo>
                <a:cubicBezTo>
                  <a:pt x="9585197" y="2003544"/>
                  <a:pt x="9585197" y="2003544"/>
                  <a:pt x="9554435" y="1965981"/>
                </a:cubicBezTo>
                <a:cubicBezTo>
                  <a:pt x="9554435" y="1965981"/>
                  <a:pt x="9654409" y="1895864"/>
                  <a:pt x="9659536" y="1838268"/>
                </a:cubicBezTo>
                <a:cubicBezTo>
                  <a:pt x="9676839" y="1838268"/>
                  <a:pt x="9711444" y="1838268"/>
                  <a:pt x="9735237" y="1838268"/>
                </a:cubicBezTo>
                <a:lnTo>
                  <a:pt x="9747225" y="1838268"/>
                </a:lnTo>
                <a:lnTo>
                  <a:pt x="9747225" y="1704920"/>
                </a:lnTo>
                <a:lnTo>
                  <a:pt x="9765046" y="1704920"/>
                </a:lnTo>
                <a:lnTo>
                  <a:pt x="9765046" y="1838268"/>
                </a:lnTo>
                <a:lnTo>
                  <a:pt x="9779736" y="1838268"/>
                </a:lnTo>
                <a:cubicBezTo>
                  <a:pt x="9803888" y="1838268"/>
                  <a:pt x="9837053" y="1838268"/>
                  <a:pt x="9854356" y="1838268"/>
                </a:cubicBezTo>
                <a:cubicBezTo>
                  <a:pt x="9859483" y="1895864"/>
                  <a:pt x="9959456" y="1965981"/>
                  <a:pt x="9959456" y="1965981"/>
                </a:cubicBezTo>
                <a:cubicBezTo>
                  <a:pt x="9959456" y="1965981"/>
                  <a:pt x="9959456" y="1965981"/>
                  <a:pt x="9928695" y="2003544"/>
                </a:cubicBezTo>
                <a:lnTo>
                  <a:pt x="9928674" y="2003544"/>
                </a:lnTo>
                <a:lnTo>
                  <a:pt x="9928674" y="2041464"/>
                </a:lnTo>
                <a:lnTo>
                  <a:pt x="10027499" y="2041464"/>
                </a:lnTo>
                <a:lnTo>
                  <a:pt x="10027499" y="2103376"/>
                </a:lnTo>
                <a:lnTo>
                  <a:pt x="10027499" y="2127188"/>
                </a:lnTo>
                <a:lnTo>
                  <a:pt x="10027499" y="2162112"/>
                </a:lnTo>
                <a:lnTo>
                  <a:pt x="10027499" y="2184337"/>
                </a:lnTo>
                <a:lnTo>
                  <a:pt x="10027499" y="2219261"/>
                </a:lnTo>
                <a:lnTo>
                  <a:pt x="10027499" y="2239898"/>
                </a:lnTo>
                <a:lnTo>
                  <a:pt x="10027499" y="2276410"/>
                </a:lnTo>
                <a:lnTo>
                  <a:pt x="10027499" y="2297047"/>
                </a:lnTo>
                <a:lnTo>
                  <a:pt x="10027499" y="2335147"/>
                </a:lnTo>
                <a:lnTo>
                  <a:pt x="10027499" y="2355784"/>
                </a:lnTo>
                <a:lnTo>
                  <a:pt x="10027499" y="2392296"/>
                </a:lnTo>
                <a:lnTo>
                  <a:pt x="10027499" y="2412933"/>
                </a:lnTo>
                <a:lnTo>
                  <a:pt x="10027499" y="2451032"/>
                </a:lnTo>
                <a:lnTo>
                  <a:pt x="10027499" y="2470082"/>
                </a:lnTo>
                <a:lnTo>
                  <a:pt x="10027499" y="2508181"/>
                </a:lnTo>
                <a:lnTo>
                  <a:pt x="10027499" y="2528818"/>
                </a:lnTo>
                <a:lnTo>
                  <a:pt x="10027499" y="2565330"/>
                </a:lnTo>
                <a:lnTo>
                  <a:pt x="10027499" y="2578029"/>
                </a:lnTo>
                <a:lnTo>
                  <a:pt x="10027499" y="2585967"/>
                </a:lnTo>
                <a:lnTo>
                  <a:pt x="10027499" y="2624067"/>
                </a:lnTo>
                <a:lnTo>
                  <a:pt x="10027499" y="2643117"/>
                </a:lnTo>
                <a:lnTo>
                  <a:pt x="10027499" y="2681216"/>
                </a:lnTo>
                <a:lnTo>
                  <a:pt x="10027499" y="2701853"/>
                </a:lnTo>
                <a:lnTo>
                  <a:pt x="10027499" y="2739952"/>
                </a:lnTo>
                <a:lnTo>
                  <a:pt x="10027499" y="2759002"/>
                </a:lnTo>
                <a:lnTo>
                  <a:pt x="10027499" y="2797101"/>
                </a:lnTo>
                <a:lnTo>
                  <a:pt x="10027499" y="2817738"/>
                </a:lnTo>
                <a:lnTo>
                  <a:pt x="10027499" y="2854250"/>
                </a:lnTo>
                <a:lnTo>
                  <a:pt x="10027499" y="2874887"/>
                </a:lnTo>
                <a:lnTo>
                  <a:pt x="10027499" y="2909812"/>
                </a:lnTo>
                <a:lnTo>
                  <a:pt x="10027499" y="2932037"/>
                </a:lnTo>
                <a:lnTo>
                  <a:pt x="10027499" y="2966961"/>
                </a:lnTo>
                <a:lnTo>
                  <a:pt x="10027499" y="2990773"/>
                </a:lnTo>
                <a:lnTo>
                  <a:pt x="10027499" y="3025698"/>
                </a:lnTo>
                <a:lnTo>
                  <a:pt x="10027499" y="3047923"/>
                </a:lnTo>
                <a:lnTo>
                  <a:pt x="10027499" y="3082847"/>
                </a:lnTo>
                <a:lnTo>
                  <a:pt x="10027499" y="3103484"/>
                </a:lnTo>
                <a:lnTo>
                  <a:pt x="10027499" y="3141583"/>
                </a:lnTo>
                <a:lnTo>
                  <a:pt x="10027499" y="3160633"/>
                </a:lnTo>
                <a:lnTo>
                  <a:pt x="10027499" y="3198732"/>
                </a:lnTo>
                <a:lnTo>
                  <a:pt x="10027499" y="3219369"/>
                </a:lnTo>
                <a:lnTo>
                  <a:pt x="10027499" y="3255881"/>
                </a:lnTo>
                <a:lnTo>
                  <a:pt x="10027499" y="3276518"/>
                </a:lnTo>
                <a:lnTo>
                  <a:pt x="10027499" y="3314618"/>
                </a:lnTo>
                <a:lnTo>
                  <a:pt x="10027499" y="3333668"/>
                </a:lnTo>
                <a:lnTo>
                  <a:pt x="10027499" y="3371767"/>
                </a:lnTo>
                <a:lnTo>
                  <a:pt x="10027499" y="3392404"/>
                </a:lnTo>
                <a:lnTo>
                  <a:pt x="10027499" y="3430503"/>
                </a:lnTo>
                <a:lnTo>
                  <a:pt x="10027499" y="3449553"/>
                </a:lnTo>
                <a:lnTo>
                  <a:pt x="10027499" y="3487652"/>
                </a:lnTo>
                <a:lnTo>
                  <a:pt x="10027499" y="3508289"/>
                </a:lnTo>
                <a:lnTo>
                  <a:pt x="10027499" y="3544801"/>
                </a:lnTo>
                <a:lnTo>
                  <a:pt x="10027499" y="3565438"/>
                </a:lnTo>
                <a:lnTo>
                  <a:pt x="10027499" y="3603538"/>
                </a:lnTo>
                <a:lnTo>
                  <a:pt x="10027499" y="3622588"/>
                </a:lnTo>
                <a:lnTo>
                  <a:pt x="10027499" y="3660687"/>
                </a:lnTo>
                <a:lnTo>
                  <a:pt x="10027499" y="3681324"/>
                </a:lnTo>
                <a:lnTo>
                  <a:pt x="10027499" y="3717836"/>
                </a:lnTo>
                <a:lnTo>
                  <a:pt x="10027499" y="3722511"/>
                </a:lnTo>
                <a:lnTo>
                  <a:pt x="6016174" y="3722511"/>
                </a:lnTo>
                <a:lnTo>
                  <a:pt x="6016174" y="1812966"/>
                </a:lnTo>
                <a:lnTo>
                  <a:pt x="6121479" y="1812966"/>
                </a:lnTo>
                <a:cubicBezTo>
                  <a:pt x="6121479" y="1812966"/>
                  <a:pt x="6563841" y="2161832"/>
                  <a:pt x="6856349" y="2812955"/>
                </a:cubicBezTo>
                <a:lnTo>
                  <a:pt x="6914185" y="2953310"/>
                </a:lnTo>
                <a:lnTo>
                  <a:pt x="6910206" y="2942588"/>
                </a:lnTo>
                <a:cubicBezTo>
                  <a:pt x="6910206" y="2942588"/>
                  <a:pt x="6910206" y="2942588"/>
                  <a:pt x="6974250" y="2942588"/>
                </a:cubicBezTo>
                <a:cubicBezTo>
                  <a:pt x="6974250" y="2942588"/>
                  <a:pt x="6974250" y="2942588"/>
                  <a:pt x="6974250" y="2623807"/>
                </a:cubicBezTo>
                <a:cubicBezTo>
                  <a:pt x="6974250" y="2623807"/>
                  <a:pt x="6974250" y="2623807"/>
                  <a:pt x="6943508" y="2623807"/>
                </a:cubicBezTo>
                <a:cubicBezTo>
                  <a:pt x="6943508" y="2623807"/>
                  <a:pt x="6943508" y="2623807"/>
                  <a:pt x="6943508" y="2533444"/>
                </a:cubicBezTo>
                <a:cubicBezTo>
                  <a:pt x="6943508" y="2533444"/>
                  <a:pt x="6943508" y="2533444"/>
                  <a:pt x="7060210" y="2533444"/>
                </a:cubicBezTo>
                <a:lnTo>
                  <a:pt x="7117697" y="2533444"/>
                </a:lnTo>
                <a:lnTo>
                  <a:pt x="7121840" y="2524813"/>
                </a:lnTo>
                <a:cubicBezTo>
                  <a:pt x="7185506" y="2400174"/>
                  <a:pt x="7246723" y="2318104"/>
                  <a:pt x="7261033" y="2299535"/>
                </a:cubicBezTo>
                <a:lnTo>
                  <a:pt x="7263816" y="2295970"/>
                </a:lnTo>
                <a:lnTo>
                  <a:pt x="7263790" y="2295525"/>
                </a:lnTo>
                <a:lnTo>
                  <a:pt x="7263973" y="2295769"/>
                </a:lnTo>
                <a:lnTo>
                  <a:pt x="7264164" y="2295525"/>
                </a:lnTo>
                <a:lnTo>
                  <a:pt x="7264232" y="2296117"/>
                </a:lnTo>
                <a:lnTo>
                  <a:pt x="7267234" y="2300132"/>
                </a:lnTo>
                <a:cubicBezTo>
                  <a:pt x="7287418" y="2327739"/>
                  <a:pt x="7391912" y="2479106"/>
                  <a:pt x="7463453" y="2745744"/>
                </a:cubicBezTo>
                <a:lnTo>
                  <a:pt x="7477245" y="2802923"/>
                </a:lnTo>
                <a:lnTo>
                  <a:pt x="7473795" y="2784453"/>
                </a:lnTo>
                <a:cubicBezTo>
                  <a:pt x="7481480" y="2799513"/>
                  <a:pt x="7484042" y="2809554"/>
                  <a:pt x="7484042" y="2809554"/>
                </a:cubicBezTo>
                <a:cubicBezTo>
                  <a:pt x="7484042" y="2809554"/>
                  <a:pt x="7514784" y="2716681"/>
                  <a:pt x="7558334" y="2671499"/>
                </a:cubicBezTo>
                <a:cubicBezTo>
                  <a:pt x="7558334" y="2671499"/>
                  <a:pt x="7558334" y="2671499"/>
                  <a:pt x="7558334" y="3283700"/>
                </a:cubicBezTo>
                <a:lnTo>
                  <a:pt x="7558334" y="3413966"/>
                </a:lnTo>
                <a:lnTo>
                  <a:pt x="7558576" y="3414612"/>
                </a:lnTo>
                <a:lnTo>
                  <a:pt x="7558576" y="1941565"/>
                </a:lnTo>
                <a:lnTo>
                  <a:pt x="7642822" y="1941565"/>
                </a:lnTo>
                <a:lnTo>
                  <a:pt x="7642822" y="1544684"/>
                </a:lnTo>
                <a:lnTo>
                  <a:pt x="7644279" y="1544684"/>
                </a:lnTo>
                <a:lnTo>
                  <a:pt x="7642728" y="1544514"/>
                </a:lnTo>
                <a:cubicBezTo>
                  <a:pt x="7642728" y="1544514"/>
                  <a:pt x="7678527" y="1481651"/>
                  <a:pt x="7704100" y="1406216"/>
                </a:cubicBezTo>
                <a:cubicBezTo>
                  <a:pt x="7729672" y="1328266"/>
                  <a:pt x="7719443" y="1217627"/>
                  <a:pt x="7719443" y="1217627"/>
                </a:cubicBezTo>
                <a:cubicBezTo>
                  <a:pt x="7719443" y="1217627"/>
                  <a:pt x="7719443" y="1217627"/>
                  <a:pt x="7757800" y="1217627"/>
                </a:cubicBezTo>
                <a:cubicBezTo>
                  <a:pt x="7757800" y="1217627"/>
                  <a:pt x="7757800" y="1217627"/>
                  <a:pt x="7788486" y="1217627"/>
                </a:cubicBezTo>
                <a:cubicBezTo>
                  <a:pt x="7788486" y="1217627"/>
                  <a:pt x="7788486" y="1217627"/>
                  <a:pt x="7826845" y="1217627"/>
                </a:cubicBezTo>
                <a:cubicBezTo>
                  <a:pt x="7826845" y="1217627"/>
                  <a:pt x="7819173" y="1328266"/>
                  <a:pt x="7844745" y="1406216"/>
                </a:cubicBezTo>
                <a:cubicBezTo>
                  <a:pt x="7870317" y="1481651"/>
                  <a:pt x="7903560" y="1544514"/>
                  <a:pt x="7903560" y="1544514"/>
                </a:cubicBezTo>
                <a:lnTo>
                  <a:pt x="7902009" y="1544684"/>
                </a:lnTo>
                <a:lnTo>
                  <a:pt x="7903560" y="1544684"/>
                </a:lnTo>
                <a:lnTo>
                  <a:pt x="7903560" y="1544654"/>
                </a:lnTo>
                <a:lnTo>
                  <a:pt x="7989425" y="1544654"/>
                </a:lnTo>
                <a:lnTo>
                  <a:pt x="7989425" y="1589104"/>
                </a:lnTo>
                <a:lnTo>
                  <a:pt x="7989425" y="1592279"/>
                </a:lnTo>
                <a:lnTo>
                  <a:pt x="7989425" y="1635142"/>
                </a:lnTo>
                <a:lnTo>
                  <a:pt x="7989425" y="1636729"/>
                </a:lnTo>
                <a:lnTo>
                  <a:pt x="7989425" y="1679592"/>
                </a:lnTo>
                <a:lnTo>
                  <a:pt x="7989425" y="1682767"/>
                </a:lnTo>
                <a:lnTo>
                  <a:pt x="7989425" y="1724042"/>
                </a:lnTo>
                <a:lnTo>
                  <a:pt x="7989425" y="1727217"/>
                </a:lnTo>
                <a:lnTo>
                  <a:pt x="7989425" y="1770080"/>
                </a:lnTo>
                <a:lnTo>
                  <a:pt x="7989425" y="1773255"/>
                </a:lnTo>
                <a:lnTo>
                  <a:pt x="7989425" y="1814530"/>
                </a:lnTo>
                <a:lnTo>
                  <a:pt x="7989425" y="1817705"/>
                </a:lnTo>
                <a:lnTo>
                  <a:pt x="7989425" y="1860568"/>
                </a:lnTo>
                <a:lnTo>
                  <a:pt x="7989425" y="1862155"/>
                </a:lnTo>
                <a:lnTo>
                  <a:pt x="7989425" y="1903431"/>
                </a:lnTo>
                <a:lnTo>
                  <a:pt x="7989425" y="1905018"/>
                </a:lnTo>
                <a:lnTo>
                  <a:pt x="7989425" y="1951056"/>
                </a:lnTo>
                <a:lnTo>
                  <a:pt x="7903660" y="1951056"/>
                </a:lnTo>
                <a:lnTo>
                  <a:pt x="7903660" y="1951090"/>
                </a:lnTo>
                <a:lnTo>
                  <a:pt x="7989526" y="1951090"/>
                </a:lnTo>
                <a:lnTo>
                  <a:pt x="7989526" y="2437482"/>
                </a:lnTo>
                <a:lnTo>
                  <a:pt x="8028419" y="2409823"/>
                </a:lnTo>
                <a:cubicBezTo>
                  <a:pt x="8043148" y="2402292"/>
                  <a:pt x="8059160" y="2396645"/>
                  <a:pt x="8075811" y="2392880"/>
                </a:cubicBezTo>
                <a:cubicBezTo>
                  <a:pt x="8075811" y="2392880"/>
                  <a:pt x="8075811" y="2392880"/>
                  <a:pt x="8075811" y="2199603"/>
                </a:cubicBezTo>
                <a:cubicBezTo>
                  <a:pt x="8075811" y="2199603"/>
                  <a:pt x="8075811" y="2199603"/>
                  <a:pt x="8147541" y="2199603"/>
                </a:cubicBezTo>
                <a:cubicBezTo>
                  <a:pt x="8147541" y="2199603"/>
                  <a:pt x="8147541" y="2199603"/>
                  <a:pt x="8147541" y="2392880"/>
                </a:cubicBezTo>
                <a:cubicBezTo>
                  <a:pt x="8173158" y="2397900"/>
                  <a:pt x="8198776" y="2410450"/>
                  <a:pt x="8221832" y="2425511"/>
                </a:cubicBezTo>
                <a:cubicBezTo>
                  <a:pt x="8221832" y="2425511"/>
                  <a:pt x="8221832" y="2425511"/>
                  <a:pt x="8221832" y="2596196"/>
                </a:cubicBezTo>
                <a:cubicBezTo>
                  <a:pt x="8221832" y="2596196"/>
                  <a:pt x="8221832" y="2596196"/>
                  <a:pt x="8221832" y="2656439"/>
                </a:cubicBezTo>
                <a:cubicBezTo>
                  <a:pt x="8221832" y="2656439"/>
                  <a:pt x="8221832" y="2656439"/>
                  <a:pt x="8221832" y="2701620"/>
                </a:cubicBezTo>
                <a:cubicBezTo>
                  <a:pt x="8198776" y="2719191"/>
                  <a:pt x="8173158" y="2729231"/>
                  <a:pt x="8147541" y="2736761"/>
                </a:cubicBezTo>
                <a:cubicBezTo>
                  <a:pt x="8147541" y="2736761"/>
                  <a:pt x="8147541" y="2736761"/>
                  <a:pt x="8147541" y="2844695"/>
                </a:cubicBezTo>
                <a:cubicBezTo>
                  <a:pt x="8147541" y="2844695"/>
                  <a:pt x="8147541" y="2844695"/>
                  <a:pt x="8221832" y="2844695"/>
                </a:cubicBezTo>
                <a:cubicBezTo>
                  <a:pt x="8221832" y="2844695"/>
                  <a:pt x="8221832" y="2844695"/>
                  <a:pt x="8221832" y="2977730"/>
                </a:cubicBezTo>
                <a:cubicBezTo>
                  <a:pt x="8221832" y="2977730"/>
                  <a:pt x="8221832" y="2977730"/>
                  <a:pt x="8196215" y="2977730"/>
                </a:cubicBezTo>
                <a:cubicBezTo>
                  <a:pt x="8196215" y="2977730"/>
                  <a:pt x="8196215" y="2977730"/>
                  <a:pt x="8162911" y="2977730"/>
                </a:cubicBezTo>
                <a:cubicBezTo>
                  <a:pt x="8162911" y="2977730"/>
                  <a:pt x="8162911" y="2977730"/>
                  <a:pt x="8137294" y="2977730"/>
                </a:cubicBezTo>
                <a:cubicBezTo>
                  <a:pt x="8137294" y="2977730"/>
                  <a:pt x="8137294" y="2977730"/>
                  <a:pt x="8119361" y="2977730"/>
                </a:cubicBezTo>
                <a:lnTo>
                  <a:pt x="8119361" y="2978150"/>
                </a:lnTo>
                <a:lnTo>
                  <a:pt x="8136840" y="2978150"/>
                </a:lnTo>
                <a:lnTo>
                  <a:pt x="8162762" y="2978150"/>
                </a:lnTo>
                <a:lnTo>
                  <a:pt x="8222704" y="2978150"/>
                </a:lnTo>
                <a:lnTo>
                  <a:pt x="8222704" y="2655887"/>
                </a:lnTo>
                <a:lnTo>
                  <a:pt x="8222704" y="2595562"/>
                </a:lnTo>
                <a:lnTo>
                  <a:pt x="8222704" y="2205037"/>
                </a:lnTo>
                <a:lnTo>
                  <a:pt x="8316668" y="2205037"/>
                </a:lnTo>
                <a:lnTo>
                  <a:pt x="8316668" y="1817687"/>
                </a:lnTo>
                <a:lnTo>
                  <a:pt x="8316668" y="1757362"/>
                </a:lnTo>
                <a:lnTo>
                  <a:pt x="8316668" y="1412875"/>
                </a:lnTo>
                <a:lnTo>
                  <a:pt x="8391192" y="1412875"/>
                </a:lnTo>
                <a:lnTo>
                  <a:pt x="8399292" y="1412875"/>
                </a:lnTo>
                <a:lnTo>
                  <a:pt x="8399292" y="1084262"/>
                </a:lnTo>
                <a:lnTo>
                  <a:pt x="8399292" y="933450"/>
                </a:lnTo>
                <a:lnTo>
                  <a:pt x="8423593" y="933450"/>
                </a:lnTo>
                <a:lnTo>
                  <a:pt x="8457615" y="933450"/>
                </a:lnTo>
                <a:lnTo>
                  <a:pt x="8470576" y="933450"/>
                </a:lnTo>
                <a:lnTo>
                  <a:pt x="8470576" y="755650"/>
                </a:lnTo>
                <a:lnTo>
                  <a:pt x="8470576" y="549275"/>
                </a:lnTo>
                <a:lnTo>
                  <a:pt x="8485156" y="549275"/>
                </a:lnTo>
                <a:lnTo>
                  <a:pt x="8514318" y="549275"/>
                </a:lnTo>
                <a:lnTo>
                  <a:pt x="8514318" y="471487"/>
                </a:lnTo>
                <a:lnTo>
                  <a:pt x="8514318" y="427037"/>
                </a:lnTo>
                <a:lnTo>
                  <a:pt x="8514318" y="290512"/>
                </a:lnTo>
                <a:lnTo>
                  <a:pt x="8553199" y="290512"/>
                </a:lnTo>
                <a:lnTo>
                  <a:pt x="8553199" y="163512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algn="ctr"/>
            <a:endParaRPr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5504D761-9BBD-4224-8A7E-0F44795C7906}"/>
              </a:ext>
            </a:extLst>
          </p:cNvPr>
          <p:cNvSpPr/>
          <p:nvPr userDrawn="1"/>
        </p:nvSpPr>
        <p:spPr>
          <a:xfrm>
            <a:off x="3870250" y="1698229"/>
            <a:ext cx="8321749" cy="247085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4253022" y="2793770"/>
            <a:ext cx="7267467" cy="52093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4253022" y="1759930"/>
            <a:ext cx="7267467" cy="1016000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253022" y="3507493"/>
            <a:ext cx="7267466" cy="296270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253022" y="3803764"/>
            <a:ext cx="7267466" cy="296270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792" name="矩形 9791">
            <a:extLst>
              <a:ext uri="{FF2B5EF4-FFF2-40B4-BE49-F238E27FC236}">
                <a16:creationId xmlns:a16="http://schemas.microsoft.com/office/drawing/2014/main" id="{2DD8D7D7-3A68-4046-904F-24C5DDE2CC80}"/>
              </a:ext>
            </a:extLst>
          </p:cNvPr>
          <p:cNvSpPr/>
          <p:nvPr userDrawn="1"/>
        </p:nvSpPr>
        <p:spPr>
          <a:xfrm>
            <a:off x="2597945" y="1698229"/>
            <a:ext cx="1211404" cy="12114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637" name="矩形 5636">
            <a:extLst>
              <a:ext uri="{FF2B5EF4-FFF2-40B4-BE49-F238E27FC236}">
                <a16:creationId xmlns:a16="http://schemas.microsoft.com/office/drawing/2014/main" id="{58E7767F-8598-45DD-BF8E-DCC1D50526D0}"/>
              </a:ext>
            </a:extLst>
          </p:cNvPr>
          <p:cNvSpPr/>
          <p:nvPr userDrawn="1"/>
        </p:nvSpPr>
        <p:spPr>
          <a:xfrm>
            <a:off x="2585278" y="2957679"/>
            <a:ext cx="1227885" cy="121140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38" name="矩形 5637">
            <a:extLst>
              <a:ext uri="{FF2B5EF4-FFF2-40B4-BE49-F238E27FC236}">
                <a16:creationId xmlns:a16="http://schemas.microsoft.com/office/drawing/2014/main" id="{D46F0050-C1D8-479A-9CA1-C7F5D3EC8336}"/>
              </a:ext>
            </a:extLst>
          </p:cNvPr>
          <p:cNvSpPr/>
          <p:nvPr userDrawn="1"/>
        </p:nvSpPr>
        <p:spPr>
          <a:xfrm>
            <a:off x="1327793" y="1698229"/>
            <a:ext cx="1211404" cy="121140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39" name="矩形 5638">
            <a:extLst>
              <a:ext uri="{FF2B5EF4-FFF2-40B4-BE49-F238E27FC236}">
                <a16:creationId xmlns:a16="http://schemas.microsoft.com/office/drawing/2014/main" id="{73313546-9560-4BA4-BB93-3EC1E3040374}"/>
              </a:ext>
            </a:extLst>
          </p:cNvPr>
          <p:cNvSpPr/>
          <p:nvPr userDrawn="1"/>
        </p:nvSpPr>
        <p:spPr>
          <a:xfrm>
            <a:off x="1903793" y="4117015"/>
            <a:ext cx="624398" cy="6228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40" name="矩形 5639">
            <a:extLst>
              <a:ext uri="{FF2B5EF4-FFF2-40B4-BE49-F238E27FC236}">
                <a16:creationId xmlns:a16="http://schemas.microsoft.com/office/drawing/2014/main" id="{CED77625-8462-43E8-B570-D611DECEE21A}"/>
              </a:ext>
            </a:extLst>
          </p:cNvPr>
          <p:cNvSpPr/>
          <p:nvPr userDrawn="1"/>
        </p:nvSpPr>
        <p:spPr>
          <a:xfrm>
            <a:off x="2540892" y="4744735"/>
            <a:ext cx="386066" cy="38606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41" name="矩形 5640">
            <a:extLst>
              <a:ext uri="{FF2B5EF4-FFF2-40B4-BE49-F238E27FC236}">
                <a16:creationId xmlns:a16="http://schemas.microsoft.com/office/drawing/2014/main" id="{5B3E3223-0613-4FEC-AD70-14B20DDC6BAC}"/>
              </a:ext>
            </a:extLst>
          </p:cNvPr>
          <p:cNvSpPr/>
          <p:nvPr userDrawn="1"/>
        </p:nvSpPr>
        <p:spPr>
          <a:xfrm>
            <a:off x="1327793" y="3543343"/>
            <a:ext cx="576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43" name="矩形 5642">
            <a:extLst>
              <a:ext uri="{FF2B5EF4-FFF2-40B4-BE49-F238E27FC236}">
                <a16:creationId xmlns:a16="http://schemas.microsoft.com/office/drawing/2014/main" id="{12F0C56E-A831-4D5D-A6E6-3515D47B1C09}"/>
              </a:ext>
            </a:extLst>
          </p:cNvPr>
          <p:cNvSpPr/>
          <p:nvPr userDrawn="1"/>
        </p:nvSpPr>
        <p:spPr>
          <a:xfrm>
            <a:off x="702319" y="1082311"/>
            <a:ext cx="624398" cy="6228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44" name="矩形 5643">
            <a:extLst>
              <a:ext uri="{FF2B5EF4-FFF2-40B4-BE49-F238E27FC236}">
                <a16:creationId xmlns:a16="http://schemas.microsoft.com/office/drawing/2014/main" id="{221A4313-B75D-4F24-A098-2F9D1DD20B67}"/>
              </a:ext>
            </a:extLst>
          </p:cNvPr>
          <p:cNvSpPr/>
          <p:nvPr userDrawn="1"/>
        </p:nvSpPr>
        <p:spPr>
          <a:xfrm>
            <a:off x="1326717" y="706870"/>
            <a:ext cx="386066" cy="3860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45" name="fast-forward_275207">
            <a:extLst>
              <a:ext uri="{FF2B5EF4-FFF2-40B4-BE49-F238E27FC236}">
                <a16:creationId xmlns:a16="http://schemas.microsoft.com/office/drawing/2014/main" id="{41C183BA-5B36-4BEE-B3B3-3E4195158D8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898805" y="2141572"/>
            <a:ext cx="609685" cy="324718"/>
          </a:xfrm>
          <a:custGeom>
            <a:avLst/>
            <a:gdLst>
              <a:gd name="connsiteX0" fmla="*/ 293671 w 607609"/>
              <a:gd name="connsiteY0" fmla="*/ 0 h 323613"/>
              <a:gd name="connsiteX1" fmla="*/ 455681 w 607609"/>
              <a:gd name="connsiteY1" fmla="*/ 0 h 323613"/>
              <a:gd name="connsiteX2" fmla="*/ 463069 w 607609"/>
              <a:gd name="connsiteY2" fmla="*/ 3200 h 323613"/>
              <a:gd name="connsiteX3" fmla="*/ 604872 w 607609"/>
              <a:gd name="connsiteY3" fmla="*/ 154918 h 323613"/>
              <a:gd name="connsiteX4" fmla="*/ 604872 w 607609"/>
              <a:gd name="connsiteY4" fmla="*/ 168695 h 323613"/>
              <a:gd name="connsiteX5" fmla="*/ 463069 w 607609"/>
              <a:gd name="connsiteY5" fmla="*/ 320413 h 323613"/>
              <a:gd name="connsiteX6" fmla="*/ 455681 w 607609"/>
              <a:gd name="connsiteY6" fmla="*/ 323613 h 323613"/>
              <a:gd name="connsiteX7" fmla="*/ 293671 w 607609"/>
              <a:gd name="connsiteY7" fmla="*/ 323613 h 323613"/>
              <a:gd name="connsiteX8" fmla="*/ 284324 w 607609"/>
              <a:gd name="connsiteY8" fmla="*/ 317391 h 323613"/>
              <a:gd name="connsiteX9" fmla="*/ 286461 w 607609"/>
              <a:gd name="connsiteY9" fmla="*/ 306370 h 323613"/>
              <a:gd name="connsiteX10" fmla="*/ 431201 w 607609"/>
              <a:gd name="connsiteY10" fmla="*/ 161762 h 323613"/>
              <a:gd name="connsiteX11" fmla="*/ 286461 w 607609"/>
              <a:gd name="connsiteY11" fmla="*/ 17243 h 323613"/>
              <a:gd name="connsiteX12" fmla="*/ 284324 w 607609"/>
              <a:gd name="connsiteY12" fmla="*/ 6222 h 323613"/>
              <a:gd name="connsiteX13" fmla="*/ 293671 w 607609"/>
              <a:gd name="connsiteY13" fmla="*/ 0 h 323613"/>
              <a:gd name="connsiteX14" fmla="*/ 10137 w 607609"/>
              <a:gd name="connsiteY14" fmla="*/ 0 h 323613"/>
              <a:gd name="connsiteX15" fmla="*/ 172112 w 607609"/>
              <a:gd name="connsiteY15" fmla="*/ 0 h 323613"/>
              <a:gd name="connsiteX16" fmla="*/ 179499 w 607609"/>
              <a:gd name="connsiteY16" fmla="*/ 3200 h 323613"/>
              <a:gd name="connsiteX17" fmla="*/ 321271 w 607609"/>
              <a:gd name="connsiteY17" fmla="*/ 154918 h 323613"/>
              <a:gd name="connsiteX18" fmla="*/ 321271 w 607609"/>
              <a:gd name="connsiteY18" fmla="*/ 168695 h 323613"/>
              <a:gd name="connsiteX19" fmla="*/ 179499 w 607609"/>
              <a:gd name="connsiteY19" fmla="*/ 320413 h 323613"/>
              <a:gd name="connsiteX20" fmla="*/ 172112 w 607609"/>
              <a:gd name="connsiteY20" fmla="*/ 323613 h 323613"/>
              <a:gd name="connsiteX21" fmla="*/ 10137 w 607609"/>
              <a:gd name="connsiteY21" fmla="*/ 323613 h 323613"/>
              <a:gd name="connsiteX22" fmla="*/ 792 w 607609"/>
              <a:gd name="connsiteY22" fmla="*/ 317391 h 323613"/>
              <a:gd name="connsiteX23" fmla="*/ 2928 w 607609"/>
              <a:gd name="connsiteY23" fmla="*/ 306370 h 323613"/>
              <a:gd name="connsiteX24" fmla="*/ 147727 w 607609"/>
              <a:gd name="connsiteY24" fmla="*/ 161762 h 323613"/>
              <a:gd name="connsiteX25" fmla="*/ 2928 w 607609"/>
              <a:gd name="connsiteY25" fmla="*/ 17243 h 323613"/>
              <a:gd name="connsiteX26" fmla="*/ 792 w 607609"/>
              <a:gd name="connsiteY26" fmla="*/ 6222 h 323613"/>
              <a:gd name="connsiteX27" fmla="*/ 10137 w 607609"/>
              <a:gd name="connsiteY27" fmla="*/ 0 h 323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07609" h="323613">
                <a:moveTo>
                  <a:pt x="293671" y="0"/>
                </a:moveTo>
                <a:lnTo>
                  <a:pt x="455681" y="0"/>
                </a:lnTo>
                <a:cubicBezTo>
                  <a:pt x="458529" y="0"/>
                  <a:pt x="461200" y="1155"/>
                  <a:pt x="463069" y="3200"/>
                </a:cubicBezTo>
                <a:lnTo>
                  <a:pt x="604872" y="154918"/>
                </a:lnTo>
                <a:cubicBezTo>
                  <a:pt x="608522" y="158740"/>
                  <a:pt x="608522" y="164784"/>
                  <a:pt x="604872" y="168695"/>
                </a:cubicBezTo>
                <a:lnTo>
                  <a:pt x="463069" y="320413"/>
                </a:lnTo>
                <a:cubicBezTo>
                  <a:pt x="461200" y="322458"/>
                  <a:pt x="458529" y="323613"/>
                  <a:pt x="455681" y="323613"/>
                </a:cubicBezTo>
                <a:lnTo>
                  <a:pt x="293671" y="323613"/>
                </a:lnTo>
                <a:cubicBezTo>
                  <a:pt x="289576" y="323613"/>
                  <a:pt x="285838" y="321124"/>
                  <a:pt x="284324" y="317391"/>
                </a:cubicBezTo>
                <a:cubicBezTo>
                  <a:pt x="282722" y="313570"/>
                  <a:pt x="283612" y="309214"/>
                  <a:pt x="286461" y="306370"/>
                </a:cubicBezTo>
                <a:lnTo>
                  <a:pt x="431201" y="161762"/>
                </a:lnTo>
                <a:lnTo>
                  <a:pt x="286461" y="17243"/>
                </a:lnTo>
                <a:cubicBezTo>
                  <a:pt x="283612" y="14399"/>
                  <a:pt x="282722" y="10043"/>
                  <a:pt x="284324" y="6222"/>
                </a:cubicBezTo>
                <a:cubicBezTo>
                  <a:pt x="285838" y="2489"/>
                  <a:pt x="289576" y="0"/>
                  <a:pt x="293671" y="0"/>
                </a:cubicBezTo>
                <a:close/>
                <a:moveTo>
                  <a:pt x="10137" y="0"/>
                </a:moveTo>
                <a:lnTo>
                  <a:pt x="172112" y="0"/>
                </a:lnTo>
                <a:cubicBezTo>
                  <a:pt x="174960" y="0"/>
                  <a:pt x="177630" y="1155"/>
                  <a:pt x="179499" y="3200"/>
                </a:cubicBezTo>
                <a:lnTo>
                  <a:pt x="321271" y="154918"/>
                </a:lnTo>
                <a:cubicBezTo>
                  <a:pt x="324920" y="158740"/>
                  <a:pt x="324920" y="164784"/>
                  <a:pt x="321271" y="168695"/>
                </a:cubicBezTo>
                <a:lnTo>
                  <a:pt x="179499" y="320413"/>
                </a:lnTo>
                <a:cubicBezTo>
                  <a:pt x="177630" y="322458"/>
                  <a:pt x="174960" y="323613"/>
                  <a:pt x="172112" y="323613"/>
                </a:cubicBezTo>
                <a:lnTo>
                  <a:pt x="10137" y="323613"/>
                </a:lnTo>
                <a:cubicBezTo>
                  <a:pt x="6043" y="323613"/>
                  <a:pt x="2305" y="321124"/>
                  <a:pt x="792" y="317391"/>
                </a:cubicBezTo>
                <a:cubicBezTo>
                  <a:pt x="-810" y="313570"/>
                  <a:pt x="80" y="309214"/>
                  <a:pt x="2928" y="306370"/>
                </a:cubicBezTo>
                <a:lnTo>
                  <a:pt x="147727" y="161762"/>
                </a:lnTo>
                <a:lnTo>
                  <a:pt x="2928" y="17243"/>
                </a:lnTo>
                <a:cubicBezTo>
                  <a:pt x="80" y="14399"/>
                  <a:pt x="-810" y="10043"/>
                  <a:pt x="792" y="6222"/>
                </a:cubicBezTo>
                <a:cubicBezTo>
                  <a:pt x="2305" y="2489"/>
                  <a:pt x="6043" y="0"/>
                  <a:pt x="10137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8D2FAA55-61F1-4984-980B-7F23952F7C7F}"/>
              </a:ext>
            </a:extLst>
          </p:cNvPr>
          <p:cNvSpPr/>
          <p:nvPr userDrawn="1"/>
        </p:nvSpPr>
        <p:spPr>
          <a:xfrm>
            <a:off x="0" y="0"/>
            <a:ext cx="4978400" cy="685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22CFBD11-7E49-4B91-839E-4CF772B8785C}"/>
              </a:ext>
            </a:extLst>
          </p:cNvPr>
          <p:cNvSpPr/>
          <p:nvPr userDrawn="1"/>
        </p:nvSpPr>
        <p:spPr bwMode="auto">
          <a:xfrm>
            <a:off x="0" y="3359371"/>
            <a:ext cx="4978400" cy="3498630"/>
          </a:xfrm>
          <a:custGeom>
            <a:avLst/>
            <a:gdLst>
              <a:gd name="connsiteX0" fmla="*/ 4205835 w 4978400"/>
              <a:gd name="connsiteY0" fmla="*/ 3444897 h 3498630"/>
              <a:gd name="connsiteX1" fmla="*/ 4205835 w 4978400"/>
              <a:gd name="connsiteY1" fmla="*/ 3444898 h 3498630"/>
              <a:gd name="connsiteX2" fmla="*/ 4205903 w 4978400"/>
              <a:gd name="connsiteY2" fmla="*/ 3444898 h 3498630"/>
              <a:gd name="connsiteX3" fmla="*/ 4206598 w 4978400"/>
              <a:gd name="connsiteY3" fmla="*/ 3444898 h 3498630"/>
              <a:gd name="connsiteX4" fmla="*/ 4212749 w 4978400"/>
              <a:gd name="connsiteY4" fmla="*/ 3444898 h 3498630"/>
              <a:gd name="connsiteX5" fmla="*/ 4227357 w 4978400"/>
              <a:gd name="connsiteY5" fmla="*/ 3444898 h 3498630"/>
              <a:gd name="connsiteX6" fmla="*/ 4255806 w 4978400"/>
              <a:gd name="connsiteY6" fmla="*/ 3444898 h 3498630"/>
              <a:gd name="connsiteX7" fmla="*/ 4302708 w 4978400"/>
              <a:gd name="connsiteY7" fmla="*/ 3444898 h 3498630"/>
              <a:gd name="connsiteX8" fmla="*/ 4372675 w 4978400"/>
              <a:gd name="connsiteY8" fmla="*/ 3444898 h 3498630"/>
              <a:gd name="connsiteX9" fmla="*/ 4470323 w 4978400"/>
              <a:gd name="connsiteY9" fmla="*/ 3444898 h 3498630"/>
              <a:gd name="connsiteX10" fmla="*/ 4600263 w 4978400"/>
              <a:gd name="connsiteY10" fmla="*/ 3444898 h 3498630"/>
              <a:gd name="connsiteX11" fmla="*/ 4945993 w 4978400"/>
              <a:gd name="connsiteY11" fmla="*/ 3444898 h 3498630"/>
              <a:gd name="connsiteX12" fmla="*/ 4945993 w 4978400"/>
              <a:gd name="connsiteY12" fmla="*/ 3444897 h 3498630"/>
              <a:gd name="connsiteX13" fmla="*/ 4603297 w 4978400"/>
              <a:gd name="connsiteY13" fmla="*/ 3444897 h 3498630"/>
              <a:gd name="connsiteX14" fmla="*/ 4600263 w 4978400"/>
              <a:gd name="connsiteY14" fmla="*/ 3444897 h 3498630"/>
              <a:gd name="connsiteX15" fmla="*/ 4205903 w 4978400"/>
              <a:gd name="connsiteY15" fmla="*/ 3444897 h 3498630"/>
              <a:gd name="connsiteX16" fmla="*/ 2860497 w 4978400"/>
              <a:gd name="connsiteY16" fmla="*/ 3421072 h 3498630"/>
              <a:gd name="connsiteX17" fmla="*/ 2860497 w 4978400"/>
              <a:gd name="connsiteY17" fmla="*/ 3479809 h 3498630"/>
              <a:gd name="connsiteX18" fmla="*/ 2869638 w 4978400"/>
              <a:gd name="connsiteY18" fmla="*/ 3479809 h 3498630"/>
              <a:gd name="connsiteX19" fmla="*/ 2869638 w 4978400"/>
              <a:gd name="connsiteY19" fmla="*/ 3479267 h 3498630"/>
              <a:gd name="connsiteX20" fmla="*/ 2869613 w 4978400"/>
              <a:gd name="connsiteY20" fmla="*/ 3479267 h 3498630"/>
              <a:gd name="connsiteX21" fmla="*/ 2869613 w 4978400"/>
              <a:gd name="connsiteY21" fmla="*/ 3421345 h 3498630"/>
              <a:gd name="connsiteX22" fmla="*/ 2869638 w 4978400"/>
              <a:gd name="connsiteY22" fmla="*/ 3421345 h 3498630"/>
              <a:gd name="connsiteX23" fmla="*/ 2869638 w 4978400"/>
              <a:gd name="connsiteY23" fmla="*/ 3421072 h 3498630"/>
              <a:gd name="connsiteX24" fmla="*/ 3462038 w 4978400"/>
              <a:gd name="connsiteY24" fmla="*/ 2857505 h 3498630"/>
              <a:gd name="connsiteX25" fmla="*/ 3462033 w 4978400"/>
              <a:gd name="connsiteY25" fmla="*/ 2857520 h 3498630"/>
              <a:gd name="connsiteX26" fmla="*/ 3635514 w 4978400"/>
              <a:gd name="connsiteY26" fmla="*/ 2857520 h 3498630"/>
              <a:gd name="connsiteX27" fmla="*/ 3635514 w 4978400"/>
              <a:gd name="connsiteY27" fmla="*/ 2857505 h 3498630"/>
              <a:gd name="connsiteX28" fmla="*/ 3616923 w 4978400"/>
              <a:gd name="connsiteY28" fmla="*/ 2857505 h 3498630"/>
              <a:gd name="connsiteX29" fmla="*/ 3498150 w 4978400"/>
              <a:gd name="connsiteY29" fmla="*/ 2857505 h 3498630"/>
              <a:gd name="connsiteX30" fmla="*/ 3479736 w 4978400"/>
              <a:gd name="connsiteY30" fmla="*/ 2857505 h 3498630"/>
              <a:gd name="connsiteX31" fmla="*/ 4978400 w 4978400"/>
              <a:gd name="connsiteY31" fmla="*/ 2449932 h 3498630"/>
              <a:gd name="connsiteX32" fmla="*/ 4978400 w 4978400"/>
              <a:gd name="connsiteY32" fmla="*/ 2476536 h 3498630"/>
              <a:gd name="connsiteX33" fmla="*/ 4946007 w 4978400"/>
              <a:gd name="connsiteY33" fmla="*/ 2476536 h 3498630"/>
              <a:gd name="connsiteX34" fmla="*/ 2875664 w 4978400"/>
              <a:gd name="connsiteY34" fmla="*/ 2305057 h 3498630"/>
              <a:gd name="connsiteX35" fmla="*/ 2992444 w 4978400"/>
              <a:gd name="connsiteY35" fmla="*/ 2401892 h 3498630"/>
              <a:gd name="connsiteX36" fmla="*/ 2992446 w 4978400"/>
              <a:gd name="connsiteY36" fmla="*/ 2401894 h 3498630"/>
              <a:gd name="connsiteX37" fmla="*/ 2992446 w 4978400"/>
              <a:gd name="connsiteY37" fmla="*/ 2401895 h 3498630"/>
              <a:gd name="connsiteX38" fmla="*/ 2992446 w 4978400"/>
              <a:gd name="connsiteY38" fmla="*/ 2430469 h 3498630"/>
              <a:gd name="connsiteX39" fmla="*/ 2964035 w 4978400"/>
              <a:gd name="connsiteY39" fmla="*/ 2465248 h 3498630"/>
              <a:gd name="connsiteX40" fmla="*/ 2965620 w 4978400"/>
              <a:gd name="connsiteY40" fmla="*/ 2468648 h 3498630"/>
              <a:gd name="connsiteX41" fmla="*/ 2959405 w 4978400"/>
              <a:gd name="connsiteY41" fmla="*/ 2488254 h 3498630"/>
              <a:gd name="connsiteX42" fmla="*/ 2936004 w 4978400"/>
              <a:gd name="connsiteY42" fmla="*/ 2518417 h 3498630"/>
              <a:gd name="connsiteX43" fmla="*/ 2916992 w 4978400"/>
              <a:gd name="connsiteY43" fmla="*/ 2526334 h 3498630"/>
              <a:gd name="connsiteX44" fmla="*/ 2914859 w 4978400"/>
              <a:gd name="connsiteY44" fmla="*/ 2525446 h 3498630"/>
              <a:gd name="connsiteX45" fmla="*/ 2813479 w 4978400"/>
              <a:gd name="connsiteY45" fmla="*/ 2649545 h 3498630"/>
              <a:gd name="connsiteX46" fmla="*/ 2758881 w 4978400"/>
              <a:gd name="connsiteY46" fmla="*/ 2600332 h 3498630"/>
              <a:gd name="connsiteX47" fmla="*/ 2758881 w 4978400"/>
              <a:gd name="connsiteY47" fmla="*/ 2573345 h 3498630"/>
              <a:gd name="connsiteX48" fmla="*/ 2758881 w 4978400"/>
              <a:gd name="connsiteY48" fmla="*/ 2570170 h 3498630"/>
              <a:gd name="connsiteX49" fmla="*/ 2758881 w 4978400"/>
              <a:gd name="connsiteY49" fmla="*/ 2424120 h 3498630"/>
              <a:gd name="connsiteX50" fmla="*/ 1081444 w 4978400"/>
              <a:gd name="connsiteY50" fmla="*/ 2162183 h 3498630"/>
              <a:gd name="connsiteX51" fmla="*/ 1394994 w 4978400"/>
              <a:gd name="connsiteY51" fmla="*/ 2430907 h 3498630"/>
              <a:gd name="connsiteX52" fmla="*/ 1398452 w 4978400"/>
              <a:gd name="connsiteY52" fmla="*/ 2466998 h 3498630"/>
              <a:gd name="connsiteX53" fmla="*/ 1486427 w 4978400"/>
              <a:gd name="connsiteY53" fmla="*/ 2466998 h 3498630"/>
              <a:gd name="connsiteX54" fmla="*/ 1486427 w 4978400"/>
              <a:gd name="connsiteY54" fmla="*/ 2530498 h 3498630"/>
              <a:gd name="connsiteX55" fmla="*/ 1457595 w 4978400"/>
              <a:gd name="connsiteY55" fmla="*/ 2530498 h 3498630"/>
              <a:gd name="connsiteX56" fmla="*/ 1457595 w 4978400"/>
              <a:gd name="connsiteY56" fmla="*/ 3030548 h 3498630"/>
              <a:gd name="connsiteX57" fmla="*/ 1495499 w 4978400"/>
              <a:gd name="connsiteY57" fmla="*/ 3030548 h 3498630"/>
              <a:gd name="connsiteX58" fmla="*/ 1495499 w 4978400"/>
              <a:gd name="connsiteY58" fmla="*/ 3498630 h 3498630"/>
              <a:gd name="connsiteX59" fmla="*/ 667344 w 4978400"/>
              <a:gd name="connsiteY59" fmla="*/ 3498630 h 3498630"/>
              <a:gd name="connsiteX60" fmla="*/ 667344 w 4978400"/>
              <a:gd name="connsiteY60" fmla="*/ 3030548 h 3498630"/>
              <a:gd name="connsiteX61" fmla="*/ 705264 w 4978400"/>
              <a:gd name="connsiteY61" fmla="*/ 3030548 h 3498630"/>
              <a:gd name="connsiteX62" fmla="*/ 705264 w 4978400"/>
              <a:gd name="connsiteY62" fmla="*/ 2530498 h 3498630"/>
              <a:gd name="connsiteX63" fmla="*/ 679495 w 4978400"/>
              <a:gd name="connsiteY63" fmla="*/ 2530498 h 3498630"/>
              <a:gd name="connsiteX64" fmla="*/ 679494 w 4978400"/>
              <a:gd name="connsiteY64" fmla="*/ 2530498 h 3498630"/>
              <a:gd name="connsiteX65" fmla="*/ 679494 w 4978400"/>
              <a:gd name="connsiteY65" fmla="*/ 2530494 h 3498630"/>
              <a:gd name="connsiteX66" fmla="*/ 679482 w 4978400"/>
              <a:gd name="connsiteY66" fmla="*/ 2530494 h 3498630"/>
              <a:gd name="connsiteX67" fmla="*/ 679482 w 4978400"/>
              <a:gd name="connsiteY67" fmla="*/ 2466994 h 3498630"/>
              <a:gd name="connsiteX68" fmla="*/ 761391 w 4978400"/>
              <a:gd name="connsiteY68" fmla="*/ 2466994 h 3498630"/>
              <a:gd name="connsiteX69" fmla="*/ 761404 w 4978400"/>
              <a:gd name="connsiteY69" fmla="*/ 2466994 h 3498630"/>
              <a:gd name="connsiteX70" fmla="*/ 766082 w 4978400"/>
              <a:gd name="connsiteY70" fmla="*/ 2449755 h 3498630"/>
              <a:gd name="connsiteX71" fmla="*/ 767886 w 4978400"/>
              <a:gd name="connsiteY71" fmla="*/ 2430907 h 3498630"/>
              <a:gd name="connsiteX72" fmla="*/ 779992 w 4978400"/>
              <a:gd name="connsiteY72" fmla="*/ 2398478 h 3498630"/>
              <a:gd name="connsiteX73" fmla="*/ 792224 w 4978400"/>
              <a:gd name="connsiteY73" fmla="*/ 2353411 h 3498630"/>
              <a:gd name="connsiteX74" fmla="*/ 802094 w 4978400"/>
              <a:gd name="connsiteY74" fmla="*/ 2339285 h 3498630"/>
              <a:gd name="connsiteX75" fmla="*/ 807716 w 4978400"/>
              <a:gd name="connsiteY75" fmla="*/ 2324220 h 3498630"/>
              <a:gd name="connsiteX76" fmla="*/ 840118 w 4978400"/>
              <a:gd name="connsiteY76" fmla="*/ 2284867 h 3498630"/>
              <a:gd name="connsiteX77" fmla="*/ 857414 w 4978400"/>
              <a:gd name="connsiteY77" fmla="*/ 2260113 h 3498630"/>
              <a:gd name="connsiteX78" fmla="*/ 867780 w 4978400"/>
              <a:gd name="connsiteY78" fmla="*/ 2251269 h 3498630"/>
              <a:gd name="connsiteX79" fmla="*/ 877849 w 4978400"/>
              <a:gd name="connsiteY79" fmla="*/ 2239035 h 3498630"/>
              <a:gd name="connsiteX80" fmla="*/ 1024786 w 4978400"/>
              <a:gd name="connsiteY80" fmla="*/ 2167439 h 3498630"/>
              <a:gd name="connsiteX81" fmla="*/ 1072739 w 4978400"/>
              <a:gd name="connsiteY81" fmla="*/ 2162991 h 3498630"/>
              <a:gd name="connsiteX82" fmla="*/ 1072739 w 4978400"/>
              <a:gd name="connsiteY82" fmla="*/ 2162196 h 3498630"/>
              <a:gd name="connsiteX83" fmla="*/ 1075646 w 4978400"/>
              <a:gd name="connsiteY83" fmla="*/ 2162196 h 3498630"/>
              <a:gd name="connsiteX84" fmla="*/ 1078554 w 4978400"/>
              <a:gd name="connsiteY84" fmla="*/ 2162196 h 3498630"/>
              <a:gd name="connsiteX85" fmla="*/ 1081304 w 4978400"/>
              <a:gd name="connsiteY85" fmla="*/ 2162196 h 3498630"/>
              <a:gd name="connsiteX86" fmla="*/ 2402144 w 4978400"/>
              <a:gd name="connsiteY86" fmla="*/ 1978902 h 3498630"/>
              <a:gd name="connsiteX87" fmla="*/ 2414037 w 4978400"/>
              <a:gd name="connsiteY87" fmla="*/ 2001298 h 3498630"/>
              <a:gd name="connsiteX88" fmla="*/ 2437074 w 4978400"/>
              <a:gd name="connsiteY88" fmla="*/ 2040478 h 3498630"/>
              <a:gd name="connsiteX89" fmla="*/ 2443565 w 4978400"/>
              <a:gd name="connsiteY89" fmla="*/ 2049066 h 3498630"/>
              <a:gd name="connsiteX90" fmla="*/ 2474007 w 4978400"/>
              <a:gd name="connsiteY90" fmla="*/ 2086350 h 3498630"/>
              <a:gd name="connsiteX91" fmla="*/ 2474407 w 4978400"/>
              <a:gd name="connsiteY91" fmla="*/ 2082503 h 3498630"/>
              <a:gd name="connsiteX92" fmla="*/ 2481776 w 4978400"/>
              <a:gd name="connsiteY92" fmla="*/ 1987403 h 3498630"/>
              <a:gd name="connsiteX93" fmla="*/ 2477702 w 4978400"/>
              <a:gd name="connsiteY93" fmla="*/ 1986812 h 3498630"/>
              <a:gd name="connsiteX94" fmla="*/ 2465529 w 4978400"/>
              <a:gd name="connsiteY94" fmla="*/ 1985044 h 3498630"/>
              <a:gd name="connsiteX95" fmla="*/ 2454009 w 4978400"/>
              <a:gd name="connsiteY95" fmla="*/ 1983372 h 3498630"/>
              <a:gd name="connsiteX96" fmla="*/ 1862362 w 4978400"/>
              <a:gd name="connsiteY96" fmla="*/ 1217205 h 3498630"/>
              <a:gd name="connsiteX97" fmla="*/ 1861861 w 4978400"/>
              <a:gd name="connsiteY97" fmla="*/ 1228726 h 3498630"/>
              <a:gd name="connsiteX98" fmla="*/ 1862110 w 4978400"/>
              <a:gd name="connsiteY98" fmla="*/ 1222996 h 3498630"/>
              <a:gd name="connsiteX99" fmla="*/ 1863264 w 4978400"/>
              <a:gd name="connsiteY99" fmla="*/ 1196515 h 3498630"/>
              <a:gd name="connsiteX100" fmla="*/ 1862765 w 4978400"/>
              <a:gd name="connsiteY100" fmla="*/ 1208011 h 3498630"/>
              <a:gd name="connsiteX101" fmla="*/ 1862362 w 4978400"/>
              <a:gd name="connsiteY101" fmla="*/ 1217205 h 3498630"/>
              <a:gd name="connsiteX102" fmla="*/ 439858 w 4978400"/>
              <a:gd name="connsiteY102" fmla="*/ 1143009 h 3498630"/>
              <a:gd name="connsiteX103" fmla="*/ 505077 w 4978400"/>
              <a:gd name="connsiteY103" fmla="*/ 1143009 h 3498630"/>
              <a:gd name="connsiteX104" fmla="*/ 505077 w 4978400"/>
              <a:gd name="connsiteY104" fmla="*/ 1146061 h 3498630"/>
              <a:gd name="connsiteX105" fmla="*/ 439858 w 4978400"/>
              <a:gd name="connsiteY105" fmla="*/ 1146061 h 3498630"/>
              <a:gd name="connsiteX106" fmla="*/ 439858 w 4978400"/>
              <a:gd name="connsiteY106" fmla="*/ 1143009 h 3498630"/>
              <a:gd name="connsiteX107" fmla="*/ 1865917 w 4978400"/>
              <a:gd name="connsiteY107" fmla="*/ 1135706 h 3498630"/>
              <a:gd name="connsiteX108" fmla="*/ 1864037 w 4978400"/>
              <a:gd name="connsiteY108" fmla="*/ 1178830 h 3498630"/>
              <a:gd name="connsiteX109" fmla="*/ 1863264 w 4978400"/>
              <a:gd name="connsiteY109" fmla="*/ 1196515 h 3498630"/>
              <a:gd name="connsiteX110" fmla="*/ 1867170 w 4978400"/>
              <a:gd name="connsiteY110" fmla="*/ 1107011 h 3498630"/>
              <a:gd name="connsiteX111" fmla="*/ 1865917 w 4978400"/>
              <a:gd name="connsiteY111" fmla="*/ 1135706 h 3498630"/>
              <a:gd name="connsiteX112" fmla="*/ 1866134 w 4978400"/>
              <a:gd name="connsiteY112" fmla="*/ 1130720 h 3498630"/>
              <a:gd name="connsiteX113" fmla="*/ 1867831 w 4978400"/>
              <a:gd name="connsiteY113" fmla="*/ 1091845 h 3498630"/>
              <a:gd name="connsiteX114" fmla="*/ 1867170 w 4978400"/>
              <a:gd name="connsiteY114" fmla="*/ 1107011 h 3498630"/>
              <a:gd name="connsiteX115" fmla="*/ 1867648 w 4978400"/>
              <a:gd name="connsiteY115" fmla="*/ 1096018 h 3498630"/>
              <a:gd name="connsiteX116" fmla="*/ 1873454 w 4978400"/>
              <a:gd name="connsiteY116" fmla="*/ 962961 h 3498630"/>
              <a:gd name="connsiteX117" fmla="*/ 1869268 w 4978400"/>
              <a:gd name="connsiteY117" fmla="*/ 1058950 h 3498630"/>
              <a:gd name="connsiteX118" fmla="*/ 1867831 w 4978400"/>
              <a:gd name="connsiteY118" fmla="*/ 1091845 h 3498630"/>
              <a:gd name="connsiteX119" fmla="*/ 1872019 w 4978400"/>
              <a:gd name="connsiteY119" fmla="*/ 995856 h 3498630"/>
              <a:gd name="connsiteX120" fmla="*/ 1874116 w 4978400"/>
              <a:gd name="connsiteY120" fmla="*/ 947795 h 3498630"/>
              <a:gd name="connsiteX121" fmla="*/ 1873454 w 4978400"/>
              <a:gd name="connsiteY121" fmla="*/ 962961 h 3498630"/>
              <a:gd name="connsiteX122" fmla="*/ 1873634 w 4978400"/>
              <a:gd name="connsiteY122" fmla="*/ 958788 h 3498630"/>
              <a:gd name="connsiteX123" fmla="*/ 1875367 w 4978400"/>
              <a:gd name="connsiteY123" fmla="*/ 919100 h 3498630"/>
              <a:gd name="connsiteX124" fmla="*/ 1875149 w 4978400"/>
              <a:gd name="connsiteY124" fmla="*/ 924086 h 3498630"/>
              <a:gd name="connsiteX125" fmla="*/ 1874116 w 4978400"/>
              <a:gd name="connsiteY125" fmla="*/ 947795 h 3498630"/>
              <a:gd name="connsiteX126" fmla="*/ 245612 w 4978400"/>
              <a:gd name="connsiteY126" fmla="*/ 889802 h 3498630"/>
              <a:gd name="connsiteX127" fmla="*/ 244967 w 4978400"/>
              <a:gd name="connsiteY127" fmla="*/ 892898 h 3498630"/>
              <a:gd name="connsiteX128" fmla="*/ 244985 w 4978400"/>
              <a:gd name="connsiteY128" fmla="*/ 892809 h 3498630"/>
              <a:gd name="connsiteX129" fmla="*/ 250113 w 4978400"/>
              <a:gd name="connsiteY129" fmla="*/ 868242 h 3498630"/>
              <a:gd name="connsiteX130" fmla="*/ 245612 w 4978400"/>
              <a:gd name="connsiteY130" fmla="*/ 889802 h 3498630"/>
              <a:gd name="connsiteX131" fmla="*/ 246582 w 4978400"/>
              <a:gd name="connsiteY131" fmla="*/ 885155 h 3498630"/>
              <a:gd name="connsiteX132" fmla="*/ 253069 w 4978400"/>
              <a:gd name="connsiteY132" fmla="*/ 854082 h 3498630"/>
              <a:gd name="connsiteX133" fmla="*/ 250113 w 4978400"/>
              <a:gd name="connsiteY133" fmla="*/ 868242 h 3498630"/>
              <a:gd name="connsiteX134" fmla="*/ 250919 w 4978400"/>
              <a:gd name="connsiteY134" fmla="*/ 864379 h 3498630"/>
              <a:gd name="connsiteX135" fmla="*/ 254811 w 4978400"/>
              <a:gd name="connsiteY135" fmla="*/ 845732 h 3498630"/>
              <a:gd name="connsiteX136" fmla="*/ 253069 w 4978400"/>
              <a:gd name="connsiteY136" fmla="*/ 854082 h 3498630"/>
              <a:gd name="connsiteX137" fmla="*/ 253201 w 4978400"/>
              <a:gd name="connsiteY137" fmla="*/ 853444 h 3498630"/>
              <a:gd name="connsiteX138" fmla="*/ 258507 w 4978400"/>
              <a:gd name="connsiteY138" fmla="*/ 828020 h 3498630"/>
              <a:gd name="connsiteX139" fmla="*/ 257537 w 4978400"/>
              <a:gd name="connsiteY139" fmla="*/ 832668 h 3498630"/>
              <a:gd name="connsiteX140" fmla="*/ 254811 w 4978400"/>
              <a:gd name="connsiteY140" fmla="*/ 845732 h 3498630"/>
              <a:gd name="connsiteX141" fmla="*/ 259363 w 4978400"/>
              <a:gd name="connsiteY141" fmla="*/ 823920 h 3498630"/>
              <a:gd name="connsiteX142" fmla="*/ 258507 w 4978400"/>
              <a:gd name="connsiteY142" fmla="*/ 828020 h 3498630"/>
              <a:gd name="connsiteX143" fmla="*/ 259134 w 4978400"/>
              <a:gd name="connsiteY143" fmla="*/ 825013 h 3498630"/>
              <a:gd name="connsiteX144" fmla="*/ 259363 w 4978400"/>
              <a:gd name="connsiteY144" fmla="*/ 823920 h 3498630"/>
              <a:gd name="connsiteX145" fmla="*/ 3890650 w 4978400"/>
              <a:gd name="connsiteY145" fmla="*/ 817652 h 3498630"/>
              <a:gd name="connsiteX146" fmla="*/ 3768712 w 4978400"/>
              <a:gd name="connsiteY146" fmla="*/ 1002333 h 3498630"/>
              <a:gd name="connsiteX147" fmla="*/ 3766017 w 4978400"/>
              <a:gd name="connsiteY147" fmla="*/ 1006478 h 3498630"/>
              <a:gd name="connsiteX148" fmla="*/ 3911563 w 4978400"/>
              <a:gd name="connsiteY148" fmla="*/ 1006478 h 3498630"/>
              <a:gd name="connsiteX149" fmla="*/ 3911563 w 4978400"/>
              <a:gd name="connsiteY149" fmla="*/ 1003617 h 3498630"/>
              <a:gd name="connsiteX150" fmla="*/ 3911563 w 4978400"/>
              <a:gd name="connsiteY150" fmla="*/ 879888 h 3498630"/>
              <a:gd name="connsiteX151" fmla="*/ 3911563 w 4978400"/>
              <a:gd name="connsiteY151" fmla="*/ 817652 h 3498630"/>
              <a:gd name="connsiteX152" fmla="*/ 3932819 w 4978400"/>
              <a:gd name="connsiteY152" fmla="*/ 817565 h 3498630"/>
              <a:gd name="connsiteX153" fmla="*/ 3932819 w 4978400"/>
              <a:gd name="connsiteY153" fmla="*/ 850648 h 3498630"/>
              <a:gd name="connsiteX154" fmla="*/ 3932819 w 4978400"/>
              <a:gd name="connsiteY154" fmla="*/ 1004066 h 3498630"/>
              <a:gd name="connsiteX155" fmla="*/ 3932819 w 4978400"/>
              <a:gd name="connsiteY155" fmla="*/ 1006478 h 3498630"/>
              <a:gd name="connsiteX156" fmla="*/ 4078427 w 4978400"/>
              <a:gd name="connsiteY156" fmla="*/ 1006478 h 3498630"/>
              <a:gd name="connsiteX157" fmla="*/ 3953695 w 4978400"/>
              <a:gd name="connsiteY157" fmla="*/ 817565 h 3498630"/>
              <a:gd name="connsiteX158" fmla="*/ 261685 w 4978400"/>
              <a:gd name="connsiteY158" fmla="*/ 814243 h 3498630"/>
              <a:gd name="connsiteX159" fmla="*/ 259368 w 4978400"/>
              <a:gd name="connsiteY159" fmla="*/ 823889 h 3498630"/>
              <a:gd name="connsiteX160" fmla="*/ 260463 w 4978400"/>
              <a:gd name="connsiteY160" fmla="*/ 819330 h 3498630"/>
              <a:gd name="connsiteX161" fmla="*/ 265810 w 4978400"/>
              <a:gd name="connsiteY161" fmla="*/ 797067 h 3498630"/>
              <a:gd name="connsiteX162" fmla="*/ 264432 w 4978400"/>
              <a:gd name="connsiteY162" fmla="*/ 802806 h 3498630"/>
              <a:gd name="connsiteX163" fmla="*/ 261685 w 4978400"/>
              <a:gd name="connsiteY163" fmla="*/ 814243 h 3498630"/>
              <a:gd name="connsiteX164" fmla="*/ 263064 w 4978400"/>
              <a:gd name="connsiteY164" fmla="*/ 808504 h 3498630"/>
              <a:gd name="connsiteX165" fmla="*/ 268128 w 4978400"/>
              <a:gd name="connsiteY165" fmla="*/ 787421 h 3498630"/>
              <a:gd name="connsiteX166" fmla="*/ 267033 w 4978400"/>
              <a:gd name="connsiteY166" fmla="*/ 791979 h 3498630"/>
              <a:gd name="connsiteX167" fmla="*/ 265810 w 4978400"/>
              <a:gd name="connsiteY167" fmla="*/ 797067 h 3498630"/>
              <a:gd name="connsiteX168" fmla="*/ 309416 w 4978400"/>
              <a:gd name="connsiteY168" fmla="*/ 387356 h 3498630"/>
              <a:gd name="connsiteX169" fmla="*/ 309416 w 4978400"/>
              <a:gd name="connsiteY169" fmla="*/ 387357 h 3498630"/>
              <a:gd name="connsiteX170" fmla="*/ 309416 w 4978400"/>
              <a:gd name="connsiteY170" fmla="*/ 387555 h 3498630"/>
              <a:gd name="connsiteX171" fmla="*/ 309421 w 4978400"/>
              <a:gd name="connsiteY171" fmla="*/ 387471 h 3498630"/>
              <a:gd name="connsiteX172" fmla="*/ 309421 w 4978400"/>
              <a:gd name="connsiteY172" fmla="*/ 387368 h 3498630"/>
              <a:gd name="connsiteX173" fmla="*/ 309421 w 4978400"/>
              <a:gd name="connsiteY173" fmla="*/ 387367 h 3498630"/>
              <a:gd name="connsiteX174" fmla="*/ 309423 w 4978400"/>
              <a:gd name="connsiteY174" fmla="*/ 387419 h 3498630"/>
              <a:gd name="connsiteX175" fmla="*/ 309426 w 4978400"/>
              <a:gd name="connsiteY175" fmla="*/ 387367 h 3498630"/>
              <a:gd name="connsiteX176" fmla="*/ 329629 w 4978400"/>
              <a:gd name="connsiteY176" fmla="*/ 752483 h 3498630"/>
              <a:gd name="connsiteX177" fmla="*/ 352751 w 4978400"/>
              <a:gd name="connsiteY177" fmla="*/ 752483 h 3498630"/>
              <a:gd name="connsiteX178" fmla="*/ 364667 w 4978400"/>
              <a:gd name="connsiteY178" fmla="*/ 756849 h 3498630"/>
              <a:gd name="connsiteX179" fmla="*/ 364672 w 4978400"/>
              <a:gd name="connsiteY179" fmla="*/ 756858 h 3498630"/>
              <a:gd name="connsiteX180" fmla="*/ 364680 w 4978400"/>
              <a:gd name="connsiteY180" fmla="*/ 756861 h 3498630"/>
              <a:gd name="connsiteX181" fmla="*/ 370090 w 4978400"/>
              <a:gd name="connsiteY181" fmla="*/ 768370 h 3498630"/>
              <a:gd name="connsiteX182" fmla="*/ 352777 w 4978400"/>
              <a:gd name="connsiteY182" fmla="*/ 787420 h 3498630"/>
              <a:gd name="connsiteX183" fmla="*/ 351136 w 4978400"/>
              <a:gd name="connsiteY183" fmla="*/ 787420 h 3498630"/>
              <a:gd name="connsiteX184" fmla="*/ 376300 w 4978400"/>
              <a:gd name="connsiteY184" fmla="*/ 892776 h 3498630"/>
              <a:gd name="connsiteX185" fmla="*/ 379399 w 4978400"/>
              <a:gd name="connsiteY185" fmla="*/ 894927 h 3498630"/>
              <a:gd name="connsiteX186" fmla="*/ 408012 w 4978400"/>
              <a:gd name="connsiteY186" fmla="*/ 965794 h 3498630"/>
              <a:gd name="connsiteX187" fmla="*/ 408012 w 4978400"/>
              <a:gd name="connsiteY187" fmla="*/ 972271 h 3498630"/>
              <a:gd name="connsiteX188" fmla="*/ 408012 w 4978400"/>
              <a:gd name="connsiteY188" fmla="*/ 982570 h 3498630"/>
              <a:gd name="connsiteX189" fmla="*/ 414429 w 4978400"/>
              <a:gd name="connsiteY189" fmla="*/ 992604 h 3498630"/>
              <a:gd name="connsiteX190" fmla="*/ 423180 w 4978400"/>
              <a:gd name="connsiteY190" fmla="*/ 1039351 h 3498630"/>
              <a:gd name="connsiteX191" fmla="*/ 423180 w 4978400"/>
              <a:gd name="connsiteY191" fmla="*/ 1046952 h 3498630"/>
              <a:gd name="connsiteX192" fmla="*/ 423180 w 4978400"/>
              <a:gd name="connsiteY192" fmla="*/ 1059264 h 3498630"/>
              <a:gd name="connsiteX193" fmla="*/ 427039 w 4978400"/>
              <a:gd name="connsiteY193" fmla="*/ 1065350 h 3498630"/>
              <a:gd name="connsiteX194" fmla="*/ 436825 w 4978400"/>
              <a:gd name="connsiteY194" fmla="*/ 1118495 h 3498630"/>
              <a:gd name="connsiteX195" fmla="*/ 436825 w 4978400"/>
              <a:gd name="connsiteY195" fmla="*/ 1118731 h 3498630"/>
              <a:gd name="connsiteX196" fmla="*/ 436829 w 4978400"/>
              <a:gd name="connsiteY196" fmla="*/ 1118761 h 3498630"/>
              <a:gd name="connsiteX197" fmla="*/ 436829 w 4978400"/>
              <a:gd name="connsiteY197" fmla="*/ 1127549 h 3498630"/>
              <a:gd name="connsiteX198" fmla="*/ 436829 w 4978400"/>
              <a:gd name="connsiteY198" fmla="*/ 1140079 h 3498630"/>
              <a:gd name="connsiteX199" fmla="*/ 439807 w 4978400"/>
              <a:gd name="connsiteY199" fmla="*/ 1146199 h 3498630"/>
              <a:gd name="connsiteX200" fmla="*/ 439858 w 4978400"/>
              <a:gd name="connsiteY200" fmla="*/ 1146199 h 3498630"/>
              <a:gd name="connsiteX201" fmla="*/ 439861 w 4978400"/>
              <a:gd name="connsiteY201" fmla="*/ 1146199 h 3498630"/>
              <a:gd name="connsiteX202" fmla="*/ 439858 w 4978400"/>
              <a:gd name="connsiteY202" fmla="*/ 1146184 h 3498630"/>
              <a:gd name="connsiteX203" fmla="*/ 505077 w 4978400"/>
              <a:gd name="connsiteY203" fmla="*/ 1146184 h 3498630"/>
              <a:gd name="connsiteX204" fmla="*/ 505077 w 4978400"/>
              <a:gd name="connsiteY204" fmla="*/ 1146199 h 3498630"/>
              <a:gd name="connsiteX205" fmla="*/ 505079 w 4978400"/>
              <a:gd name="connsiteY205" fmla="*/ 1146199 h 3498630"/>
              <a:gd name="connsiteX206" fmla="*/ 505079 w 4978400"/>
              <a:gd name="connsiteY206" fmla="*/ 1457352 h 3498630"/>
              <a:gd name="connsiteX207" fmla="*/ 550578 w 4978400"/>
              <a:gd name="connsiteY207" fmla="*/ 1457352 h 3498630"/>
              <a:gd name="connsiteX208" fmla="*/ 550578 w 4978400"/>
              <a:gd name="connsiteY208" fmla="*/ 1457352 h 3498630"/>
              <a:gd name="connsiteX209" fmla="*/ 550584 w 4978400"/>
              <a:gd name="connsiteY209" fmla="*/ 1457352 h 3498630"/>
              <a:gd name="connsiteX210" fmla="*/ 550584 w 4978400"/>
              <a:gd name="connsiteY210" fmla="*/ 3378219 h 3498630"/>
              <a:gd name="connsiteX211" fmla="*/ 620348 w 4978400"/>
              <a:gd name="connsiteY211" fmla="*/ 3378219 h 3498630"/>
              <a:gd name="connsiteX212" fmla="*/ 620348 w 4978400"/>
              <a:gd name="connsiteY212" fmla="*/ 3378245 h 3498630"/>
              <a:gd name="connsiteX213" fmla="*/ 620350 w 4978400"/>
              <a:gd name="connsiteY213" fmla="*/ 3378245 h 3498630"/>
              <a:gd name="connsiteX214" fmla="*/ 620350 w 4978400"/>
              <a:gd name="connsiteY214" fmla="*/ 3498630 h 3498630"/>
              <a:gd name="connsiteX215" fmla="*/ 0 w 4978400"/>
              <a:gd name="connsiteY215" fmla="*/ 3498630 h 3498630"/>
              <a:gd name="connsiteX216" fmla="*/ 0 w 4978400"/>
              <a:gd name="connsiteY216" fmla="*/ 3378219 h 3498630"/>
              <a:gd name="connsiteX217" fmla="*/ 1 w 4978400"/>
              <a:gd name="connsiteY217" fmla="*/ 3378219 h 3498630"/>
              <a:gd name="connsiteX218" fmla="*/ 71290 w 4978400"/>
              <a:gd name="connsiteY218" fmla="*/ 3378219 h 3498630"/>
              <a:gd name="connsiteX219" fmla="*/ 71290 w 4978400"/>
              <a:gd name="connsiteY219" fmla="*/ 3329007 h 3498630"/>
              <a:gd name="connsiteX220" fmla="*/ 71286 w 4978400"/>
              <a:gd name="connsiteY220" fmla="*/ 3329007 h 3498630"/>
              <a:gd name="connsiteX221" fmla="*/ 71286 w 4978400"/>
              <a:gd name="connsiteY221" fmla="*/ 3284557 h 3498630"/>
              <a:gd name="connsiteX222" fmla="*/ 71290 w 4978400"/>
              <a:gd name="connsiteY222" fmla="*/ 3284557 h 3498630"/>
              <a:gd name="connsiteX223" fmla="*/ 71290 w 4978400"/>
              <a:gd name="connsiteY223" fmla="*/ 3219469 h 3498630"/>
              <a:gd name="connsiteX224" fmla="*/ 71286 w 4978400"/>
              <a:gd name="connsiteY224" fmla="*/ 3219469 h 3498630"/>
              <a:gd name="connsiteX225" fmla="*/ 71286 w 4978400"/>
              <a:gd name="connsiteY225" fmla="*/ 3173431 h 3498630"/>
              <a:gd name="connsiteX226" fmla="*/ 71290 w 4978400"/>
              <a:gd name="connsiteY226" fmla="*/ 3173431 h 3498630"/>
              <a:gd name="connsiteX227" fmla="*/ 71290 w 4978400"/>
              <a:gd name="connsiteY227" fmla="*/ 3109931 h 3498630"/>
              <a:gd name="connsiteX228" fmla="*/ 71288 w 4978400"/>
              <a:gd name="connsiteY228" fmla="*/ 3109931 h 3498630"/>
              <a:gd name="connsiteX229" fmla="*/ 71288 w 4978400"/>
              <a:gd name="connsiteY229" fmla="*/ 3060718 h 3498630"/>
              <a:gd name="connsiteX230" fmla="*/ 71290 w 4978400"/>
              <a:gd name="connsiteY230" fmla="*/ 3060718 h 3498630"/>
              <a:gd name="connsiteX231" fmla="*/ 71290 w 4978400"/>
              <a:gd name="connsiteY231" fmla="*/ 2997218 h 3498630"/>
              <a:gd name="connsiteX232" fmla="*/ 71288 w 4978400"/>
              <a:gd name="connsiteY232" fmla="*/ 2997218 h 3498630"/>
              <a:gd name="connsiteX233" fmla="*/ 71288 w 4978400"/>
              <a:gd name="connsiteY233" fmla="*/ 2951180 h 3498630"/>
              <a:gd name="connsiteX234" fmla="*/ 71290 w 4978400"/>
              <a:gd name="connsiteY234" fmla="*/ 2951180 h 3498630"/>
              <a:gd name="connsiteX235" fmla="*/ 71290 w 4978400"/>
              <a:gd name="connsiteY235" fmla="*/ 2887680 h 3498630"/>
              <a:gd name="connsiteX236" fmla="*/ 71288 w 4978400"/>
              <a:gd name="connsiteY236" fmla="*/ 2887680 h 3498630"/>
              <a:gd name="connsiteX237" fmla="*/ 71288 w 4978400"/>
              <a:gd name="connsiteY237" fmla="*/ 2841642 h 3498630"/>
              <a:gd name="connsiteX238" fmla="*/ 71290 w 4978400"/>
              <a:gd name="connsiteY238" fmla="*/ 2841642 h 3498630"/>
              <a:gd name="connsiteX239" fmla="*/ 71290 w 4978400"/>
              <a:gd name="connsiteY239" fmla="*/ 2778142 h 3498630"/>
              <a:gd name="connsiteX240" fmla="*/ 71288 w 4978400"/>
              <a:gd name="connsiteY240" fmla="*/ 2778142 h 3498630"/>
              <a:gd name="connsiteX241" fmla="*/ 71288 w 4978400"/>
              <a:gd name="connsiteY241" fmla="*/ 2732104 h 3498630"/>
              <a:gd name="connsiteX242" fmla="*/ 71290 w 4978400"/>
              <a:gd name="connsiteY242" fmla="*/ 2732104 h 3498630"/>
              <a:gd name="connsiteX243" fmla="*/ 71290 w 4978400"/>
              <a:gd name="connsiteY243" fmla="*/ 2668604 h 3498630"/>
              <a:gd name="connsiteX244" fmla="*/ 71288 w 4978400"/>
              <a:gd name="connsiteY244" fmla="*/ 2668604 h 3498630"/>
              <a:gd name="connsiteX245" fmla="*/ 71288 w 4978400"/>
              <a:gd name="connsiteY245" fmla="*/ 2622566 h 3498630"/>
              <a:gd name="connsiteX246" fmla="*/ 71290 w 4978400"/>
              <a:gd name="connsiteY246" fmla="*/ 2622566 h 3498630"/>
              <a:gd name="connsiteX247" fmla="*/ 71290 w 4978400"/>
              <a:gd name="connsiteY247" fmla="*/ 2557478 h 3498630"/>
              <a:gd name="connsiteX248" fmla="*/ 71288 w 4978400"/>
              <a:gd name="connsiteY248" fmla="*/ 2557478 h 3498630"/>
              <a:gd name="connsiteX249" fmla="*/ 71288 w 4978400"/>
              <a:gd name="connsiteY249" fmla="*/ 2509853 h 3498630"/>
              <a:gd name="connsiteX250" fmla="*/ 71290 w 4978400"/>
              <a:gd name="connsiteY250" fmla="*/ 2509853 h 3498630"/>
              <a:gd name="connsiteX251" fmla="*/ 71290 w 4978400"/>
              <a:gd name="connsiteY251" fmla="*/ 2444765 h 3498630"/>
              <a:gd name="connsiteX252" fmla="*/ 71288 w 4978400"/>
              <a:gd name="connsiteY252" fmla="*/ 2444765 h 3498630"/>
              <a:gd name="connsiteX253" fmla="*/ 71288 w 4978400"/>
              <a:gd name="connsiteY253" fmla="*/ 2400315 h 3498630"/>
              <a:gd name="connsiteX254" fmla="*/ 71290 w 4978400"/>
              <a:gd name="connsiteY254" fmla="*/ 2400315 h 3498630"/>
              <a:gd name="connsiteX255" fmla="*/ 71290 w 4978400"/>
              <a:gd name="connsiteY255" fmla="*/ 2335228 h 3498630"/>
              <a:gd name="connsiteX256" fmla="*/ 71289 w 4978400"/>
              <a:gd name="connsiteY256" fmla="*/ 2335228 h 3498630"/>
              <a:gd name="connsiteX257" fmla="*/ 71289 w 4978400"/>
              <a:gd name="connsiteY257" fmla="*/ 2289190 h 3498630"/>
              <a:gd name="connsiteX258" fmla="*/ 71290 w 4978400"/>
              <a:gd name="connsiteY258" fmla="*/ 2289190 h 3498630"/>
              <a:gd name="connsiteX259" fmla="*/ 71290 w 4978400"/>
              <a:gd name="connsiteY259" fmla="*/ 2225690 h 3498630"/>
              <a:gd name="connsiteX260" fmla="*/ 71289 w 4978400"/>
              <a:gd name="connsiteY260" fmla="*/ 2225690 h 3498630"/>
              <a:gd name="connsiteX261" fmla="*/ 71289 w 4978400"/>
              <a:gd name="connsiteY261" fmla="*/ 2179652 h 3498630"/>
              <a:gd name="connsiteX262" fmla="*/ 71290 w 4978400"/>
              <a:gd name="connsiteY262" fmla="*/ 2179652 h 3498630"/>
              <a:gd name="connsiteX263" fmla="*/ 71290 w 4978400"/>
              <a:gd name="connsiteY263" fmla="*/ 2116152 h 3498630"/>
              <a:gd name="connsiteX264" fmla="*/ 71289 w 4978400"/>
              <a:gd name="connsiteY264" fmla="*/ 2116152 h 3498630"/>
              <a:gd name="connsiteX265" fmla="*/ 71289 w 4978400"/>
              <a:gd name="connsiteY265" fmla="*/ 2066939 h 3498630"/>
              <a:gd name="connsiteX266" fmla="*/ 71290 w 4978400"/>
              <a:gd name="connsiteY266" fmla="*/ 2066939 h 3498630"/>
              <a:gd name="connsiteX267" fmla="*/ 71290 w 4978400"/>
              <a:gd name="connsiteY267" fmla="*/ 2006614 h 3498630"/>
              <a:gd name="connsiteX268" fmla="*/ 71289 w 4978400"/>
              <a:gd name="connsiteY268" fmla="*/ 2006614 h 3498630"/>
              <a:gd name="connsiteX269" fmla="*/ 71289 w 4978400"/>
              <a:gd name="connsiteY269" fmla="*/ 1957401 h 3498630"/>
              <a:gd name="connsiteX270" fmla="*/ 71290 w 4978400"/>
              <a:gd name="connsiteY270" fmla="*/ 1957401 h 3498630"/>
              <a:gd name="connsiteX271" fmla="*/ 71290 w 4978400"/>
              <a:gd name="connsiteY271" fmla="*/ 1893901 h 3498630"/>
              <a:gd name="connsiteX272" fmla="*/ 71289 w 4978400"/>
              <a:gd name="connsiteY272" fmla="*/ 1893901 h 3498630"/>
              <a:gd name="connsiteX273" fmla="*/ 71289 w 4978400"/>
              <a:gd name="connsiteY273" fmla="*/ 1847863 h 3498630"/>
              <a:gd name="connsiteX274" fmla="*/ 71290 w 4978400"/>
              <a:gd name="connsiteY274" fmla="*/ 1847863 h 3498630"/>
              <a:gd name="connsiteX275" fmla="*/ 71290 w 4978400"/>
              <a:gd name="connsiteY275" fmla="*/ 1784363 h 3498630"/>
              <a:gd name="connsiteX276" fmla="*/ 71289 w 4978400"/>
              <a:gd name="connsiteY276" fmla="*/ 1784363 h 3498630"/>
              <a:gd name="connsiteX277" fmla="*/ 71289 w 4978400"/>
              <a:gd name="connsiteY277" fmla="*/ 1738325 h 3498630"/>
              <a:gd name="connsiteX278" fmla="*/ 71290 w 4978400"/>
              <a:gd name="connsiteY278" fmla="*/ 1738325 h 3498630"/>
              <a:gd name="connsiteX279" fmla="*/ 71290 w 4978400"/>
              <a:gd name="connsiteY279" fmla="*/ 1673237 h 3498630"/>
              <a:gd name="connsiteX280" fmla="*/ 71290 w 4978400"/>
              <a:gd name="connsiteY280" fmla="*/ 1628787 h 3498630"/>
              <a:gd name="connsiteX281" fmla="*/ 71290 w 4978400"/>
              <a:gd name="connsiteY281" fmla="*/ 1563699 h 3498630"/>
              <a:gd name="connsiteX282" fmla="*/ 71290 w 4978400"/>
              <a:gd name="connsiteY282" fmla="*/ 1516074 h 3498630"/>
              <a:gd name="connsiteX283" fmla="*/ 71290 w 4978400"/>
              <a:gd name="connsiteY283" fmla="*/ 1457336 h 3498630"/>
              <a:gd name="connsiteX284" fmla="*/ 116800 w 4978400"/>
              <a:gd name="connsiteY284" fmla="*/ 1457336 h 3498630"/>
              <a:gd name="connsiteX285" fmla="*/ 116800 w 4978400"/>
              <a:gd name="connsiteY285" fmla="*/ 1457335 h 3498630"/>
              <a:gd name="connsiteX286" fmla="*/ 116788 w 4978400"/>
              <a:gd name="connsiteY286" fmla="*/ 1457335 h 3498630"/>
              <a:gd name="connsiteX287" fmla="*/ 116788 w 4978400"/>
              <a:gd name="connsiteY287" fmla="*/ 1146184 h 3498630"/>
              <a:gd name="connsiteX288" fmla="*/ 180490 w 4978400"/>
              <a:gd name="connsiteY288" fmla="*/ 1146184 h 3498630"/>
              <a:gd name="connsiteX289" fmla="*/ 180485 w 4978400"/>
              <a:gd name="connsiteY289" fmla="*/ 1146199 h 3498630"/>
              <a:gd name="connsiteX290" fmla="*/ 180495 w 4978400"/>
              <a:gd name="connsiteY290" fmla="*/ 1146199 h 3498630"/>
              <a:gd name="connsiteX291" fmla="*/ 180505 w 4978400"/>
              <a:gd name="connsiteY291" fmla="*/ 1146199 h 3498630"/>
              <a:gd name="connsiteX292" fmla="*/ 180505 w 4978400"/>
              <a:gd name="connsiteY292" fmla="*/ 1139813 h 3498630"/>
              <a:gd name="connsiteX293" fmla="*/ 180494 w 4978400"/>
              <a:gd name="connsiteY293" fmla="*/ 1139835 h 3498630"/>
              <a:gd name="connsiteX294" fmla="*/ 180494 w 4978400"/>
              <a:gd name="connsiteY294" fmla="*/ 1118481 h 3498630"/>
              <a:gd name="connsiteX295" fmla="*/ 180494 w 4978400"/>
              <a:gd name="connsiteY295" fmla="*/ 1115431 h 3498630"/>
              <a:gd name="connsiteX296" fmla="*/ 183698 w 4978400"/>
              <a:gd name="connsiteY296" fmla="*/ 1102083 h 3498630"/>
              <a:gd name="connsiteX297" fmla="*/ 183735 w 4978400"/>
              <a:gd name="connsiteY297" fmla="*/ 1101892 h 3498630"/>
              <a:gd name="connsiteX298" fmla="*/ 190699 w 4978400"/>
              <a:gd name="connsiteY298" fmla="*/ 1065510 h 3498630"/>
              <a:gd name="connsiteX299" fmla="*/ 193421 w 4978400"/>
              <a:gd name="connsiteY299" fmla="*/ 1061317 h 3498630"/>
              <a:gd name="connsiteX300" fmla="*/ 193527 w 4978400"/>
              <a:gd name="connsiteY300" fmla="*/ 1061154 h 3498630"/>
              <a:gd name="connsiteX301" fmla="*/ 195144 w 4978400"/>
              <a:gd name="connsiteY301" fmla="*/ 1054421 h 3498630"/>
              <a:gd name="connsiteX302" fmla="*/ 195661 w 4978400"/>
              <a:gd name="connsiteY302" fmla="*/ 1053697 h 3498630"/>
              <a:gd name="connsiteX303" fmla="*/ 195661 w 4978400"/>
              <a:gd name="connsiteY303" fmla="*/ 1040362 h 3498630"/>
              <a:gd name="connsiteX304" fmla="*/ 195661 w 4978400"/>
              <a:gd name="connsiteY304" fmla="*/ 1037295 h 3498630"/>
              <a:gd name="connsiteX305" fmla="*/ 196983 w 4978400"/>
              <a:gd name="connsiteY305" fmla="*/ 1032662 h 3498630"/>
              <a:gd name="connsiteX306" fmla="*/ 204834 w 4978400"/>
              <a:gd name="connsiteY306" fmla="*/ 992604 h 3498630"/>
              <a:gd name="connsiteX307" fmla="*/ 211157 w 4978400"/>
              <a:gd name="connsiteY307" fmla="*/ 982990 h 3498630"/>
              <a:gd name="connsiteX308" fmla="*/ 213162 w 4978400"/>
              <a:gd name="connsiteY308" fmla="*/ 975960 h 3498630"/>
              <a:gd name="connsiteX309" fmla="*/ 213862 w 4978400"/>
              <a:gd name="connsiteY309" fmla="*/ 975264 h 3498630"/>
              <a:gd name="connsiteX310" fmla="*/ 213862 w 4978400"/>
              <a:gd name="connsiteY310" fmla="*/ 975164 h 3498630"/>
              <a:gd name="connsiteX311" fmla="*/ 213862 w 4978400"/>
              <a:gd name="connsiteY311" fmla="*/ 967061 h 3498630"/>
              <a:gd name="connsiteX312" fmla="*/ 213862 w 4978400"/>
              <a:gd name="connsiteY312" fmla="*/ 963975 h 3498630"/>
              <a:gd name="connsiteX313" fmla="*/ 214150 w 4978400"/>
              <a:gd name="connsiteY313" fmla="*/ 962627 h 3498630"/>
              <a:gd name="connsiteX314" fmla="*/ 220146 w 4978400"/>
              <a:gd name="connsiteY314" fmla="*/ 933742 h 3498630"/>
              <a:gd name="connsiteX315" fmla="*/ 221479 w 4978400"/>
              <a:gd name="connsiteY315" fmla="*/ 926931 h 3498630"/>
              <a:gd name="connsiteX316" fmla="*/ 221598 w 4978400"/>
              <a:gd name="connsiteY316" fmla="*/ 926747 h 3498630"/>
              <a:gd name="connsiteX317" fmla="*/ 222199 w 4978400"/>
              <a:gd name="connsiteY317" fmla="*/ 923859 h 3498630"/>
              <a:gd name="connsiteX318" fmla="*/ 230391 w 4978400"/>
              <a:gd name="connsiteY318" fmla="*/ 913117 h 3498630"/>
              <a:gd name="connsiteX319" fmla="*/ 242125 w 4978400"/>
              <a:gd name="connsiteY319" fmla="*/ 894927 h 3498630"/>
              <a:gd name="connsiteX320" fmla="*/ 244967 w 4978400"/>
              <a:gd name="connsiteY320" fmla="*/ 892898 h 3498630"/>
              <a:gd name="connsiteX321" fmla="*/ 245678 w 4978400"/>
              <a:gd name="connsiteY321" fmla="*/ 892390 h 3498630"/>
              <a:gd name="connsiteX322" fmla="*/ 248089 w 4978400"/>
              <a:gd name="connsiteY322" fmla="*/ 882300 h 3498630"/>
              <a:gd name="connsiteX323" fmla="*/ 251820 w 4978400"/>
              <a:gd name="connsiteY323" fmla="*/ 864284 h 3498630"/>
              <a:gd name="connsiteX324" fmla="*/ 260190 w 4978400"/>
              <a:gd name="connsiteY324" fmla="*/ 823875 h 3498630"/>
              <a:gd name="connsiteX325" fmla="*/ 268877 w 4978400"/>
              <a:gd name="connsiteY325" fmla="*/ 787408 h 3498630"/>
              <a:gd name="connsiteX326" fmla="*/ 269072 w 4978400"/>
              <a:gd name="connsiteY326" fmla="*/ 787408 h 3498630"/>
              <a:gd name="connsiteX327" fmla="*/ 269066 w 4978400"/>
              <a:gd name="connsiteY327" fmla="*/ 787405 h 3498630"/>
              <a:gd name="connsiteX328" fmla="*/ 269055 w 4978400"/>
              <a:gd name="connsiteY328" fmla="*/ 787405 h 3498630"/>
              <a:gd name="connsiteX329" fmla="*/ 259562 w 4978400"/>
              <a:gd name="connsiteY329" fmla="*/ 783048 h 3498630"/>
              <a:gd name="connsiteX330" fmla="*/ 256115 w 4978400"/>
              <a:gd name="connsiteY330" fmla="*/ 781467 h 3498630"/>
              <a:gd name="connsiteX331" fmla="*/ 256113 w 4978400"/>
              <a:gd name="connsiteY331" fmla="*/ 781464 h 3498630"/>
              <a:gd name="connsiteX332" fmla="*/ 256086 w 4978400"/>
              <a:gd name="connsiteY332" fmla="*/ 781452 h 3498630"/>
              <a:gd name="connsiteX333" fmla="*/ 251763 w 4978400"/>
              <a:gd name="connsiteY333" fmla="*/ 768355 h 3498630"/>
              <a:gd name="connsiteX334" fmla="*/ 269055 w 4978400"/>
              <a:gd name="connsiteY334" fmla="*/ 752480 h 3498630"/>
              <a:gd name="connsiteX335" fmla="*/ 286075 w 4978400"/>
              <a:gd name="connsiteY335" fmla="*/ 752480 h 3498630"/>
              <a:gd name="connsiteX336" fmla="*/ 289224 w 4978400"/>
              <a:gd name="connsiteY336" fmla="*/ 752480 h 3498630"/>
              <a:gd name="connsiteX337" fmla="*/ 308964 w 4978400"/>
              <a:gd name="connsiteY337" fmla="*/ 395717 h 3498630"/>
              <a:gd name="connsiteX338" fmla="*/ 3920684 w 4978400"/>
              <a:gd name="connsiteY338" fmla="*/ 0 h 3498630"/>
              <a:gd name="connsiteX339" fmla="*/ 3932819 w 4978400"/>
              <a:gd name="connsiteY339" fmla="*/ 9150 h 3498630"/>
              <a:gd name="connsiteX340" fmla="*/ 3932819 w 4978400"/>
              <a:gd name="connsiteY340" fmla="*/ 92075 h 3498630"/>
              <a:gd name="connsiteX341" fmla="*/ 3955569 w 4978400"/>
              <a:gd name="connsiteY341" fmla="*/ 92075 h 3498630"/>
              <a:gd name="connsiteX342" fmla="*/ 3955569 w 4978400"/>
              <a:gd name="connsiteY342" fmla="*/ 109538 h 3498630"/>
              <a:gd name="connsiteX343" fmla="*/ 3932819 w 4978400"/>
              <a:gd name="connsiteY343" fmla="*/ 109538 h 3498630"/>
              <a:gd name="connsiteX344" fmla="*/ 3932819 w 4978400"/>
              <a:gd name="connsiteY344" fmla="*/ 184711 h 3498630"/>
              <a:gd name="connsiteX345" fmla="*/ 3932819 w 4978400"/>
              <a:gd name="connsiteY345" fmla="*/ 265113 h 3498630"/>
              <a:gd name="connsiteX346" fmla="*/ 3955569 w 4978400"/>
              <a:gd name="connsiteY346" fmla="*/ 265113 h 3498630"/>
              <a:gd name="connsiteX347" fmla="*/ 3955569 w 4978400"/>
              <a:gd name="connsiteY347" fmla="*/ 287338 h 3498630"/>
              <a:gd name="connsiteX348" fmla="*/ 3932819 w 4978400"/>
              <a:gd name="connsiteY348" fmla="*/ 287338 h 3498630"/>
              <a:gd name="connsiteX349" fmla="*/ 3932819 w 4978400"/>
              <a:gd name="connsiteY349" fmla="*/ 342566 h 3498630"/>
              <a:gd name="connsiteX350" fmla="*/ 3932819 w 4978400"/>
              <a:gd name="connsiteY350" fmla="*/ 439739 h 3498630"/>
              <a:gd name="connsiteX351" fmla="*/ 3955569 w 4978400"/>
              <a:gd name="connsiteY351" fmla="*/ 439739 h 3498630"/>
              <a:gd name="connsiteX352" fmla="*/ 3955569 w 4978400"/>
              <a:gd name="connsiteY352" fmla="*/ 460377 h 3498630"/>
              <a:gd name="connsiteX353" fmla="*/ 3932819 w 4978400"/>
              <a:gd name="connsiteY353" fmla="*/ 460377 h 3498630"/>
              <a:gd name="connsiteX354" fmla="*/ 3932819 w 4978400"/>
              <a:gd name="connsiteY354" fmla="*/ 483658 h 3498630"/>
              <a:gd name="connsiteX355" fmla="*/ 3932819 w 4978400"/>
              <a:gd name="connsiteY355" fmla="*/ 608927 h 3498630"/>
              <a:gd name="connsiteX356" fmla="*/ 3932819 w 4978400"/>
              <a:gd name="connsiteY356" fmla="*/ 612777 h 3498630"/>
              <a:gd name="connsiteX357" fmla="*/ 3955569 w 4978400"/>
              <a:gd name="connsiteY357" fmla="*/ 612777 h 3498630"/>
              <a:gd name="connsiteX358" fmla="*/ 3955569 w 4978400"/>
              <a:gd name="connsiteY358" fmla="*/ 633415 h 3498630"/>
              <a:gd name="connsiteX359" fmla="*/ 3932819 w 4978400"/>
              <a:gd name="connsiteY359" fmla="*/ 633415 h 3498630"/>
              <a:gd name="connsiteX360" fmla="*/ 3932819 w 4978400"/>
              <a:gd name="connsiteY360" fmla="*/ 752966 h 3498630"/>
              <a:gd name="connsiteX361" fmla="*/ 3932819 w 4978400"/>
              <a:gd name="connsiteY361" fmla="*/ 768352 h 3498630"/>
              <a:gd name="connsiteX362" fmla="*/ 4011689 w 4978400"/>
              <a:gd name="connsiteY362" fmla="*/ 768352 h 3498630"/>
              <a:gd name="connsiteX363" fmla="*/ 4011689 w 4978400"/>
              <a:gd name="connsiteY363" fmla="*/ 817565 h 3498630"/>
              <a:gd name="connsiteX364" fmla="*/ 3968764 w 4978400"/>
              <a:gd name="connsiteY364" fmla="*/ 817565 h 3498630"/>
              <a:gd name="connsiteX365" fmla="*/ 4090560 w 4978400"/>
              <a:gd name="connsiteY365" fmla="*/ 1006478 h 3498630"/>
              <a:gd name="connsiteX366" fmla="*/ 4142131 w 4978400"/>
              <a:gd name="connsiteY366" fmla="*/ 1006478 h 3498630"/>
              <a:gd name="connsiteX367" fmla="*/ 4142131 w 4978400"/>
              <a:gd name="connsiteY367" fmla="*/ 1033465 h 3498630"/>
              <a:gd name="connsiteX368" fmla="*/ 4142131 w 4978400"/>
              <a:gd name="connsiteY368" fmla="*/ 1033466 h 3498630"/>
              <a:gd name="connsiteX369" fmla="*/ 4142131 w 4978400"/>
              <a:gd name="connsiteY369" fmla="*/ 1125540 h 3498630"/>
              <a:gd name="connsiteX370" fmla="*/ 4205835 w 4978400"/>
              <a:gd name="connsiteY370" fmla="*/ 1125540 h 3498630"/>
              <a:gd name="connsiteX371" fmla="*/ 4205835 w 4978400"/>
              <a:gd name="connsiteY371" fmla="*/ 1152528 h 3498630"/>
              <a:gd name="connsiteX372" fmla="*/ 4205835 w 4978400"/>
              <a:gd name="connsiteY372" fmla="*/ 1208091 h 3498630"/>
              <a:gd name="connsiteX373" fmla="*/ 4205835 w 4978400"/>
              <a:gd name="connsiteY373" fmla="*/ 1222379 h 3498630"/>
              <a:gd name="connsiteX374" fmla="*/ 4205835 w 4978400"/>
              <a:gd name="connsiteY374" fmla="*/ 1292228 h 3498630"/>
              <a:gd name="connsiteX375" fmla="*/ 4205835 w 4978400"/>
              <a:gd name="connsiteY375" fmla="*/ 1308103 h 3498630"/>
              <a:gd name="connsiteX376" fmla="*/ 4205835 w 4978400"/>
              <a:gd name="connsiteY376" fmla="*/ 1377953 h 3498630"/>
              <a:gd name="connsiteX377" fmla="*/ 4205835 w 4978400"/>
              <a:gd name="connsiteY377" fmla="*/ 1393828 h 3498630"/>
              <a:gd name="connsiteX378" fmla="*/ 4205835 w 4978400"/>
              <a:gd name="connsiteY378" fmla="*/ 1463679 h 3498630"/>
              <a:gd name="connsiteX379" fmla="*/ 4205835 w 4978400"/>
              <a:gd name="connsiteY379" fmla="*/ 1479554 h 3498630"/>
              <a:gd name="connsiteX380" fmla="*/ 4205835 w 4978400"/>
              <a:gd name="connsiteY380" fmla="*/ 1549404 h 3498630"/>
              <a:gd name="connsiteX381" fmla="*/ 4205835 w 4978400"/>
              <a:gd name="connsiteY381" fmla="*/ 1563692 h 3498630"/>
              <a:gd name="connsiteX382" fmla="*/ 4205835 w 4978400"/>
              <a:gd name="connsiteY382" fmla="*/ 1633542 h 3498630"/>
              <a:gd name="connsiteX383" fmla="*/ 4205835 w 4978400"/>
              <a:gd name="connsiteY383" fmla="*/ 1649417 h 3498630"/>
              <a:gd name="connsiteX384" fmla="*/ 4205835 w 4978400"/>
              <a:gd name="connsiteY384" fmla="*/ 1719267 h 3498630"/>
              <a:gd name="connsiteX385" fmla="*/ 4205835 w 4978400"/>
              <a:gd name="connsiteY385" fmla="*/ 1735142 h 3498630"/>
              <a:gd name="connsiteX386" fmla="*/ 4205835 w 4978400"/>
              <a:gd name="connsiteY386" fmla="*/ 1804992 h 3498630"/>
              <a:gd name="connsiteX387" fmla="*/ 4205835 w 4978400"/>
              <a:gd name="connsiteY387" fmla="*/ 1820867 h 3498630"/>
              <a:gd name="connsiteX388" fmla="*/ 4205835 w 4978400"/>
              <a:gd name="connsiteY388" fmla="*/ 1890717 h 3498630"/>
              <a:gd name="connsiteX389" fmla="*/ 4205835 w 4978400"/>
              <a:gd name="connsiteY389" fmla="*/ 1905005 h 3498630"/>
              <a:gd name="connsiteX390" fmla="*/ 4205835 w 4978400"/>
              <a:gd name="connsiteY390" fmla="*/ 1976442 h 3498630"/>
              <a:gd name="connsiteX391" fmla="*/ 4205835 w 4978400"/>
              <a:gd name="connsiteY391" fmla="*/ 1990730 h 3498630"/>
              <a:gd name="connsiteX392" fmla="*/ 4205835 w 4978400"/>
              <a:gd name="connsiteY392" fmla="*/ 2060580 h 3498630"/>
              <a:gd name="connsiteX393" fmla="*/ 4205835 w 4978400"/>
              <a:gd name="connsiteY393" fmla="*/ 2076455 h 3498630"/>
              <a:gd name="connsiteX394" fmla="*/ 4205835 w 4978400"/>
              <a:gd name="connsiteY394" fmla="*/ 2146305 h 3498630"/>
              <a:gd name="connsiteX395" fmla="*/ 4205835 w 4978400"/>
              <a:gd name="connsiteY395" fmla="*/ 2162180 h 3498630"/>
              <a:gd name="connsiteX396" fmla="*/ 4205835 w 4978400"/>
              <a:gd name="connsiteY396" fmla="*/ 2232031 h 3498630"/>
              <a:gd name="connsiteX397" fmla="*/ 4205835 w 4978400"/>
              <a:gd name="connsiteY397" fmla="*/ 2247906 h 3498630"/>
              <a:gd name="connsiteX398" fmla="*/ 4205835 w 4978400"/>
              <a:gd name="connsiteY398" fmla="*/ 2317756 h 3498630"/>
              <a:gd name="connsiteX399" fmla="*/ 4205835 w 4978400"/>
              <a:gd name="connsiteY399" fmla="*/ 2332044 h 3498630"/>
              <a:gd name="connsiteX400" fmla="*/ 4205835 w 4978400"/>
              <a:gd name="connsiteY400" fmla="*/ 2401894 h 3498630"/>
              <a:gd name="connsiteX401" fmla="*/ 4205835 w 4978400"/>
              <a:gd name="connsiteY401" fmla="*/ 2417769 h 3498630"/>
              <a:gd name="connsiteX402" fmla="*/ 4205835 w 4978400"/>
              <a:gd name="connsiteY402" fmla="*/ 2487619 h 3498630"/>
              <a:gd name="connsiteX403" fmla="*/ 4205835 w 4978400"/>
              <a:gd name="connsiteY403" fmla="*/ 2503494 h 3498630"/>
              <a:gd name="connsiteX404" fmla="*/ 4205835 w 4978400"/>
              <a:gd name="connsiteY404" fmla="*/ 2573344 h 3498630"/>
              <a:gd name="connsiteX405" fmla="*/ 4205835 w 4978400"/>
              <a:gd name="connsiteY405" fmla="*/ 2589219 h 3498630"/>
              <a:gd name="connsiteX406" fmla="*/ 4205835 w 4978400"/>
              <a:gd name="connsiteY406" fmla="*/ 2659069 h 3498630"/>
              <a:gd name="connsiteX407" fmla="*/ 4205835 w 4978400"/>
              <a:gd name="connsiteY407" fmla="*/ 2673357 h 3498630"/>
              <a:gd name="connsiteX408" fmla="*/ 4205835 w 4978400"/>
              <a:gd name="connsiteY408" fmla="*/ 2744794 h 3498630"/>
              <a:gd name="connsiteX409" fmla="*/ 4205835 w 4978400"/>
              <a:gd name="connsiteY409" fmla="*/ 2759082 h 3498630"/>
              <a:gd name="connsiteX410" fmla="*/ 4205835 w 4978400"/>
              <a:gd name="connsiteY410" fmla="*/ 2828932 h 3498630"/>
              <a:gd name="connsiteX411" fmla="*/ 4205835 w 4978400"/>
              <a:gd name="connsiteY411" fmla="*/ 2844807 h 3498630"/>
              <a:gd name="connsiteX412" fmla="*/ 4205835 w 4978400"/>
              <a:gd name="connsiteY412" fmla="*/ 2914657 h 3498630"/>
              <a:gd name="connsiteX413" fmla="*/ 4205835 w 4978400"/>
              <a:gd name="connsiteY413" fmla="*/ 2930532 h 3498630"/>
              <a:gd name="connsiteX414" fmla="*/ 4205835 w 4978400"/>
              <a:gd name="connsiteY414" fmla="*/ 3000383 h 3498630"/>
              <a:gd name="connsiteX415" fmla="*/ 4205835 w 4978400"/>
              <a:gd name="connsiteY415" fmla="*/ 3016258 h 3498630"/>
              <a:gd name="connsiteX416" fmla="*/ 4205835 w 4978400"/>
              <a:gd name="connsiteY416" fmla="*/ 3086108 h 3498630"/>
              <a:gd name="connsiteX417" fmla="*/ 4205835 w 4978400"/>
              <a:gd name="connsiteY417" fmla="*/ 3100396 h 3498630"/>
              <a:gd name="connsiteX418" fmla="*/ 4205835 w 4978400"/>
              <a:gd name="connsiteY418" fmla="*/ 3171833 h 3498630"/>
              <a:gd name="connsiteX419" fmla="*/ 4205835 w 4978400"/>
              <a:gd name="connsiteY419" fmla="*/ 3186121 h 3498630"/>
              <a:gd name="connsiteX420" fmla="*/ 4205835 w 4978400"/>
              <a:gd name="connsiteY420" fmla="*/ 3255971 h 3498630"/>
              <a:gd name="connsiteX421" fmla="*/ 4205835 w 4978400"/>
              <a:gd name="connsiteY421" fmla="*/ 3271846 h 3498630"/>
              <a:gd name="connsiteX422" fmla="*/ 4205835 w 4978400"/>
              <a:gd name="connsiteY422" fmla="*/ 3341696 h 3498630"/>
              <a:gd name="connsiteX423" fmla="*/ 4205835 w 4978400"/>
              <a:gd name="connsiteY423" fmla="*/ 3357571 h 3498630"/>
              <a:gd name="connsiteX424" fmla="*/ 4205835 w 4978400"/>
              <a:gd name="connsiteY424" fmla="*/ 3405398 h 3498630"/>
              <a:gd name="connsiteX425" fmla="*/ 4205903 w 4978400"/>
              <a:gd name="connsiteY425" fmla="*/ 3405261 h 3498630"/>
              <a:gd name="connsiteX426" fmla="*/ 4205903 w 4978400"/>
              <a:gd name="connsiteY426" fmla="*/ 3400447 h 3498630"/>
              <a:gd name="connsiteX427" fmla="*/ 4281741 w 4978400"/>
              <a:gd name="connsiteY427" fmla="*/ 3252809 h 3498630"/>
              <a:gd name="connsiteX428" fmla="*/ 4281742 w 4978400"/>
              <a:gd name="connsiteY428" fmla="*/ 3252809 h 3498630"/>
              <a:gd name="connsiteX429" fmla="*/ 4346963 w 4978400"/>
              <a:gd name="connsiteY429" fmla="*/ 3252809 h 3498630"/>
              <a:gd name="connsiteX430" fmla="*/ 4346963 w 4978400"/>
              <a:gd name="connsiteY430" fmla="*/ 2241568 h 3498630"/>
              <a:gd name="connsiteX431" fmla="*/ 4404600 w 4978400"/>
              <a:gd name="connsiteY431" fmla="*/ 2241568 h 3498630"/>
              <a:gd name="connsiteX432" fmla="*/ 4404600 w 4978400"/>
              <a:gd name="connsiteY432" fmla="*/ 2241567 h 3498630"/>
              <a:gd name="connsiteX433" fmla="*/ 4404600 w 4978400"/>
              <a:gd name="connsiteY433" fmla="*/ 1805003 h 3498630"/>
              <a:gd name="connsiteX434" fmla="*/ 4404600 w 4978400"/>
              <a:gd name="connsiteY434" fmla="*/ 1517664 h 3498630"/>
              <a:gd name="connsiteX435" fmla="*/ 4433419 w 4978400"/>
              <a:gd name="connsiteY435" fmla="*/ 1447814 h 3498630"/>
              <a:gd name="connsiteX436" fmla="*/ 4462237 w 4978400"/>
              <a:gd name="connsiteY436" fmla="*/ 1517664 h 3498630"/>
              <a:gd name="connsiteX437" fmla="*/ 4600263 w 4978400"/>
              <a:gd name="connsiteY437" fmla="*/ 1331926 h 3498630"/>
              <a:gd name="connsiteX438" fmla="*/ 4600263 w 4978400"/>
              <a:gd name="connsiteY438" fmla="*/ 1331927 h 3498630"/>
              <a:gd name="connsiteX439" fmla="*/ 4600264 w 4978400"/>
              <a:gd name="connsiteY439" fmla="*/ 1331926 h 3498630"/>
              <a:gd name="connsiteX440" fmla="*/ 4736773 w 4978400"/>
              <a:gd name="connsiteY440" fmla="*/ 1517664 h 3498630"/>
              <a:gd name="connsiteX441" fmla="*/ 4739807 w 4978400"/>
              <a:gd name="connsiteY441" fmla="*/ 1517664 h 3498630"/>
              <a:gd name="connsiteX442" fmla="*/ 4768624 w 4978400"/>
              <a:gd name="connsiteY442" fmla="*/ 1447814 h 3498630"/>
              <a:gd name="connsiteX443" fmla="*/ 4797443 w 4978400"/>
              <a:gd name="connsiteY443" fmla="*/ 1517664 h 3498630"/>
              <a:gd name="connsiteX444" fmla="*/ 4797443 w 4978400"/>
              <a:gd name="connsiteY444" fmla="*/ 1805003 h 3498630"/>
              <a:gd name="connsiteX445" fmla="*/ 4797443 w 4978400"/>
              <a:gd name="connsiteY445" fmla="*/ 2241568 h 3498630"/>
              <a:gd name="connsiteX446" fmla="*/ 4856598 w 4978400"/>
              <a:gd name="connsiteY446" fmla="*/ 2241568 h 3498630"/>
              <a:gd name="connsiteX447" fmla="*/ 4856598 w 4978400"/>
              <a:gd name="connsiteY447" fmla="*/ 3252809 h 3498630"/>
              <a:gd name="connsiteX448" fmla="*/ 4920302 w 4978400"/>
              <a:gd name="connsiteY448" fmla="*/ 3252809 h 3498630"/>
              <a:gd name="connsiteX449" fmla="*/ 4945993 w 4978400"/>
              <a:gd name="connsiteY449" fmla="*/ 3304454 h 3498630"/>
              <a:gd name="connsiteX450" fmla="*/ 4945993 w 4978400"/>
              <a:gd name="connsiteY450" fmla="*/ 2549527 h 3498630"/>
              <a:gd name="connsiteX451" fmla="*/ 4946007 w 4978400"/>
              <a:gd name="connsiteY451" fmla="*/ 2549527 h 3498630"/>
              <a:gd name="connsiteX452" fmla="*/ 4946007 w 4978400"/>
              <a:gd name="connsiteY452" fmla="*/ 2476537 h 3498630"/>
              <a:gd name="connsiteX453" fmla="*/ 4978400 w 4978400"/>
              <a:gd name="connsiteY453" fmla="*/ 2476537 h 3498630"/>
              <a:gd name="connsiteX454" fmla="*/ 4978400 w 4978400"/>
              <a:gd name="connsiteY454" fmla="*/ 3498630 h 3498630"/>
              <a:gd name="connsiteX455" fmla="*/ 1518261 w 4978400"/>
              <a:gd name="connsiteY455" fmla="*/ 3498630 h 3498630"/>
              <a:gd name="connsiteX456" fmla="*/ 1518261 w 4978400"/>
              <a:gd name="connsiteY456" fmla="*/ 2320927 h 3498630"/>
              <a:gd name="connsiteX457" fmla="*/ 1534937 w 4978400"/>
              <a:gd name="connsiteY457" fmla="*/ 2320927 h 3498630"/>
              <a:gd name="connsiteX458" fmla="*/ 1572854 w 4978400"/>
              <a:gd name="connsiteY458" fmla="*/ 2320927 h 3498630"/>
              <a:gd name="connsiteX459" fmla="*/ 1572854 w 4978400"/>
              <a:gd name="connsiteY459" fmla="*/ 2009777 h 3498630"/>
              <a:gd name="connsiteX460" fmla="*/ 1654785 w 4978400"/>
              <a:gd name="connsiteY460" fmla="*/ 2009777 h 3498630"/>
              <a:gd name="connsiteX461" fmla="*/ 1654785 w 4978400"/>
              <a:gd name="connsiteY461" fmla="*/ 1744664 h 3498630"/>
              <a:gd name="connsiteX462" fmla="*/ 1679064 w 4978400"/>
              <a:gd name="connsiteY462" fmla="*/ 1744664 h 3498630"/>
              <a:gd name="connsiteX463" fmla="*/ 1679064 w 4978400"/>
              <a:gd name="connsiteY463" fmla="*/ 1609727 h 3498630"/>
              <a:gd name="connsiteX464" fmla="*/ 1730647 w 4978400"/>
              <a:gd name="connsiteY464" fmla="*/ 1609727 h 3498630"/>
              <a:gd name="connsiteX465" fmla="*/ 1730647 w 4978400"/>
              <a:gd name="connsiteY465" fmla="*/ 1512889 h 3498630"/>
              <a:gd name="connsiteX466" fmla="*/ 1783722 w 4978400"/>
              <a:gd name="connsiteY466" fmla="*/ 1512889 h 3498630"/>
              <a:gd name="connsiteX467" fmla="*/ 1783722 w 4978400"/>
              <a:gd name="connsiteY467" fmla="*/ 1470027 h 3498630"/>
              <a:gd name="connsiteX468" fmla="*/ 1853494 w 4978400"/>
              <a:gd name="connsiteY468" fmla="*/ 1470027 h 3498630"/>
              <a:gd name="connsiteX469" fmla="*/ 1862067 w 4978400"/>
              <a:gd name="connsiteY469" fmla="*/ 1255714 h 3498630"/>
              <a:gd name="connsiteX470" fmla="*/ 1861833 w 4978400"/>
              <a:gd name="connsiteY470" fmla="*/ 1255714 h 3498630"/>
              <a:gd name="connsiteX471" fmla="*/ 1861100 w 4978400"/>
              <a:gd name="connsiteY471" fmla="*/ 1255714 h 3498630"/>
              <a:gd name="connsiteX472" fmla="*/ 1860734 w 4978400"/>
              <a:gd name="connsiteY472" fmla="*/ 1255714 h 3498630"/>
              <a:gd name="connsiteX473" fmla="*/ 1854033 w 4978400"/>
              <a:gd name="connsiteY473" fmla="*/ 1255714 h 3498630"/>
              <a:gd name="connsiteX474" fmla="*/ 1853024 w 4978400"/>
              <a:gd name="connsiteY474" fmla="*/ 1255714 h 3498630"/>
              <a:gd name="connsiteX475" fmla="*/ 1842366 w 4978400"/>
              <a:gd name="connsiteY475" fmla="*/ 1251966 h 3498630"/>
              <a:gd name="connsiteX476" fmla="*/ 1838312 w 4978400"/>
              <a:gd name="connsiteY476" fmla="*/ 1243719 h 3498630"/>
              <a:gd name="connsiteX477" fmla="*/ 1853024 w 4978400"/>
              <a:gd name="connsiteY477" fmla="*/ 1228726 h 3498630"/>
              <a:gd name="connsiteX478" fmla="*/ 1854126 w 4978400"/>
              <a:gd name="connsiteY478" fmla="*/ 1228726 h 3498630"/>
              <a:gd name="connsiteX479" fmla="*/ 1861833 w 4978400"/>
              <a:gd name="connsiteY479" fmla="*/ 1228726 h 3498630"/>
              <a:gd name="connsiteX480" fmla="*/ 1861861 w 4978400"/>
              <a:gd name="connsiteY480" fmla="*/ 1228726 h 3498630"/>
              <a:gd name="connsiteX481" fmla="*/ 1862593 w 4978400"/>
              <a:gd name="connsiteY481" fmla="*/ 1228726 h 3498630"/>
              <a:gd name="connsiteX482" fmla="*/ 1875834 w 4978400"/>
              <a:gd name="connsiteY482" fmla="*/ 908437 h 3498630"/>
              <a:gd name="connsiteX483" fmla="*/ 1875367 w 4978400"/>
              <a:gd name="connsiteY483" fmla="*/ 919100 h 3498630"/>
              <a:gd name="connsiteX484" fmla="*/ 1875834 w 4978400"/>
              <a:gd name="connsiteY484" fmla="*/ 908436 h 3498630"/>
              <a:gd name="connsiteX485" fmla="*/ 1875834 w 4978400"/>
              <a:gd name="connsiteY485" fmla="*/ 908390 h 3498630"/>
              <a:gd name="connsiteX486" fmla="*/ 1876120 w 4978400"/>
              <a:gd name="connsiteY486" fmla="*/ 901486 h 3498630"/>
              <a:gd name="connsiteX487" fmla="*/ 1879253 w 4978400"/>
              <a:gd name="connsiteY487" fmla="*/ 825721 h 3498630"/>
              <a:gd name="connsiteX488" fmla="*/ 1879260 w 4978400"/>
              <a:gd name="connsiteY488" fmla="*/ 825501 h 3498630"/>
              <a:gd name="connsiteX489" fmla="*/ 1879263 w 4978400"/>
              <a:gd name="connsiteY489" fmla="*/ 825501 h 3498630"/>
              <a:gd name="connsiteX490" fmla="*/ 1879450 w 4978400"/>
              <a:gd name="connsiteY490" fmla="*/ 825501 h 3498630"/>
              <a:gd name="connsiteX491" fmla="*/ 1880185 w 4978400"/>
              <a:gd name="connsiteY491" fmla="*/ 825501 h 3498630"/>
              <a:gd name="connsiteX492" fmla="*/ 1884588 w 4978400"/>
              <a:gd name="connsiteY492" fmla="*/ 825501 h 3498630"/>
              <a:gd name="connsiteX493" fmla="*/ 1885322 w 4978400"/>
              <a:gd name="connsiteY493" fmla="*/ 825501 h 3498630"/>
              <a:gd name="connsiteX494" fmla="*/ 1891384 w 4978400"/>
              <a:gd name="connsiteY494" fmla="*/ 825501 h 3498630"/>
              <a:gd name="connsiteX495" fmla="*/ 1907438 w 4978400"/>
              <a:gd name="connsiteY495" fmla="*/ 1228726 h 3498630"/>
              <a:gd name="connsiteX496" fmla="*/ 1909482 w 4978400"/>
              <a:gd name="connsiteY496" fmla="*/ 1228726 h 3498630"/>
              <a:gd name="connsiteX497" fmla="*/ 1917569 w 4978400"/>
              <a:gd name="connsiteY497" fmla="*/ 1228726 h 3498630"/>
              <a:gd name="connsiteX498" fmla="*/ 1932269 w 4978400"/>
              <a:gd name="connsiteY498" fmla="*/ 1243719 h 3498630"/>
              <a:gd name="connsiteX499" fmla="*/ 1917569 w 4978400"/>
              <a:gd name="connsiteY499" fmla="*/ 1255714 h 3498630"/>
              <a:gd name="connsiteX500" fmla="*/ 1908516 w 4978400"/>
              <a:gd name="connsiteY500" fmla="*/ 1255714 h 3498630"/>
              <a:gd name="connsiteX501" fmla="*/ 1917094 w 4978400"/>
              <a:gd name="connsiteY501" fmla="*/ 1470027 h 3498630"/>
              <a:gd name="connsiteX502" fmla="*/ 1986878 w 4978400"/>
              <a:gd name="connsiteY502" fmla="*/ 1470027 h 3498630"/>
              <a:gd name="connsiteX503" fmla="*/ 1986878 w 4978400"/>
              <a:gd name="connsiteY503" fmla="*/ 1512889 h 3498630"/>
              <a:gd name="connsiteX504" fmla="*/ 2039921 w 4978400"/>
              <a:gd name="connsiteY504" fmla="*/ 1512889 h 3498630"/>
              <a:gd name="connsiteX505" fmla="*/ 2039921 w 4978400"/>
              <a:gd name="connsiteY505" fmla="*/ 1609727 h 3498630"/>
              <a:gd name="connsiteX506" fmla="*/ 2091541 w 4978400"/>
              <a:gd name="connsiteY506" fmla="*/ 1609727 h 3498630"/>
              <a:gd name="connsiteX507" fmla="*/ 2091541 w 4978400"/>
              <a:gd name="connsiteY507" fmla="*/ 1744664 h 3498630"/>
              <a:gd name="connsiteX508" fmla="*/ 2115862 w 4978400"/>
              <a:gd name="connsiteY508" fmla="*/ 1744664 h 3498630"/>
              <a:gd name="connsiteX509" fmla="*/ 2115862 w 4978400"/>
              <a:gd name="connsiteY509" fmla="*/ 2009777 h 3498630"/>
              <a:gd name="connsiteX510" fmla="*/ 2196157 w 4978400"/>
              <a:gd name="connsiteY510" fmla="*/ 2009777 h 3498630"/>
              <a:gd name="connsiteX511" fmla="*/ 2196157 w 4978400"/>
              <a:gd name="connsiteY511" fmla="*/ 2320927 h 3498630"/>
              <a:gd name="connsiteX512" fmla="*/ 2252293 w 4978400"/>
              <a:gd name="connsiteY512" fmla="*/ 2320927 h 3498630"/>
              <a:gd name="connsiteX513" fmla="*/ 2252293 w 4978400"/>
              <a:gd name="connsiteY513" fmla="*/ 3479809 h 3498630"/>
              <a:gd name="connsiteX514" fmla="*/ 2254706 w 4978400"/>
              <a:gd name="connsiteY514" fmla="*/ 3479809 h 3498630"/>
              <a:gd name="connsiteX515" fmla="*/ 2254708 w 4978400"/>
              <a:gd name="connsiteY515" fmla="*/ 3479809 h 3498630"/>
              <a:gd name="connsiteX516" fmla="*/ 2257622 w 4978400"/>
              <a:gd name="connsiteY516" fmla="*/ 3479809 h 3498630"/>
              <a:gd name="connsiteX517" fmla="*/ 2278021 w 4978400"/>
              <a:gd name="connsiteY517" fmla="*/ 3479809 h 3498630"/>
              <a:gd name="connsiteX518" fmla="*/ 2278058 w 4978400"/>
              <a:gd name="connsiteY518" fmla="*/ 3479809 h 3498630"/>
              <a:gd name="connsiteX519" fmla="*/ 2278058 w 4978400"/>
              <a:gd name="connsiteY519" fmla="*/ 3421072 h 3498630"/>
              <a:gd name="connsiteX520" fmla="*/ 2258341 w 4978400"/>
              <a:gd name="connsiteY520" fmla="*/ 3421072 h 3498630"/>
              <a:gd name="connsiteX521" fmla="*/ 2258340 w 4978400"/>
              <a:gd name="connsiteY521" fmla="*/ 3421072 h 3498630"/>
              <a:gd name="connsiteX522" fmla="*/ 2258340 w 4978400"/>
              <a:gd name="connsiteY522" fmla="*/ 3368684 h 3498630"/>
              <a:gd name="connsiteX523" fmla="*/ 2258341 w 4978400"/>
              <a:gd name="connsiteY523" fmla="*/ 3368684 h 3498630"/>
              <a:gd name="connsiteX524" fmla="*/ 2278058 w 4978400"/>
              <a:gd name="connsiteY524" fmla="*/ 3368684 h 3498630"/>
              <a:gd name="connsiteX525" fmla="*/ 2278058 w 4978400"/>
              <a:gd name="connsiteY525" fmla="*/ 3308359 h 3498630"/>
              <a:gd name="connsiteX526" fmla="*/ 2278060 w 4978400"/>
              <a:gd name="connsiteY526" fmla="*/ 3308359 h 3498630"/>
              <a:gd name="connsiteX527" fmla="*/ 2337216 w 4978400"/>
              <a:gd name="connsiteY527" fmla="*/ 3308359 h 3498630"/>
              <a:gd name="connsiteX528" fmla="*/ 2337216 w 4978400"/>
              <a:gd name="connsiteY528" fmla="*/ 3308358 h 3498630"/>
              <a:gd name="connsiteX529" fmla="*/ 2337216 w 4978400"/>
              <a:gd name="connsiteY529" fmla="*/ 2692407 h 3498630"/>
              <a:gd name="connsiteX530" fmla="*/ 2337356 w 4978400"/>
              <a:gd name="connsiteY530" fmla="*/ 2692242 h 3498630"/>
              <a:gd name="connsiteX531" fmla="*/ 2389040 w 4978400"/>
              <a:gd name="connsiteY531" fmla="*/ 2631092 h 3498630"/>
              <a:gd name="connsiteX532" fmla="*/ 2389040 w 4978400"/>
              <a:gd name="connsiteY532" fmla="*/ 2576969 h 3498630"/>
              <a:gd name="connsiteX533" fmla="*/ 2389040 w 4978400"/>
              <a:gd name="connsiteY533" fmla="*/ 2408690 h 3498630"/>
              <a:gd name="connsiteX534" fmla="*/ 2386281 w 4978400"/>
              <a:gd name="connsiteY534" fmla="*/ 2342726 h 3498630"/>
              <a:gd name="connsiteX535" fmla="*/ 2377814 w 4978400"/>
              <a:gd name="connsiteY535" fmla="*/ 2293532 h 3498630"/>
              <a:gd name="connsiteX536" fmla="*/ 2342547 w 4978400"/>
              <a:gd name="connsiteY536" fmla="*/ 2207653 h 3498630"/>
              <a:gd name="connsiteX537" fmla="*/ 2290194 w 4978400"/>
              <a:gd name="connsiteY537" fmla="*/ 2079409 h 3498630"/>
              <a:gd name="connsiteX538" fmla="*/ 2290194 w 4978400"/>
              <a:gd name="connsiteY538" fmla="*/ 2076355 h 3498630"/>
              <a:gd name="connsiteX539" fmla="*/ 2290194 w 4978400"/>
              <a:gd name="connsiteY539" fmla="*/ 2073302 h 3498630"/>
              <a:gd name="connsiteX540" fmla="*/ 2295810 w 4978400"/>
              <a:gd name="connsiteY540" fmla="*/ 2040096 h 3498630"/>
              <a:gd name="connsiteX541" fmla="*/ 2296111 w 4978400"/>
              <a:gd name="connsiteY541" fmla="*/ 2037996 h 3498630"/>
              <a:gd name="connsiteX542" fmla="*/ 2296209 w 4978400"/>
              <a:gd name="connsiteY542" fmla="*/ 2037746 h 3498630"/>
              <a:gd name="connsiteX543" fmla="*/ 2297101 w 4978400"/>
              <a:gd name="connsiteY543" fmla="*/ 2032462 h 3498630"/>
              <a:gd name="connsiteX544" fmla="*/ 2304448 w 4978400"/>
              <a:gd name="connsiteY544" fmla="*/ 2016416 h 3498630"/>
              <a:gd name="connsiteX545" fmla="*/ 2308094 w 4978400"/>
              <a:gd name="connsiteY545" fmla="*/ 2006976 h 3498630"/>
              <a:gd name="connsiteX546" fmla="*/ 2309780 w 4978400"/>
              <a:gd name="connsiteY546" fmla="*/ 2004623 h 3498630"/>
              <a:gd name="connsiteX547" fmla="*/ 2308588 w 4978400"/>
              <a:gd name="connsiteY547" fmla="*/ 1996598 h 3498630"/>
              <a:gd name="connsiteX548" fmla="*/ 2293402 w 4978400"/>
              <a:gd name="connsiteY548" fmla="*/ 1770156 h 3498630"/>
              <a:gd name="connsiteX549" fmla="*/ 2295353 w 4978400"/>
              <a:gd name="connsiteY549" fmla="*/ 1685846 h 3498630"/>
              <a:gd name="connsiteX550" fmla="*/ 2280891 w 4978400"/>
              <a:gd name="connsiteY550" fmla="*/ 1679815 h 3498630"/>
              <a:gd name="connsiteX551" fmla="*/ 2275026 w 4978400"/>
              <a:gd name="connsiteY551" fmla="*/ 1664528 h 3498630"/>
              <a:gd name="connsiteX552" fmla="*/ 2275026 w 4978400"/>
              <a:gd name="connsiteY552" fmla="*/ 1627839 h 3498630"/>
              <a:gd name="connsiteX553" fmla="*/ 2275049 w 4978400"/>
              <a:gd name="connsiteY553" fmla="*/ 1627781 h 3498630"/>
              <a:gd name="connsiteX554" fmla="*/ 2281257 w 4978400"/>
              <a:gd name="connsiteY554" fmla="*/ 1611024 h 3498630"/>
              <a:gd name="connsiteX555" fmla="*/ 2294829 w 4978400"/>
              <a:gd name="connsiteY555" fmla="*/ 1605002 h 3498630"/>
              <a:gd name="connsiteX556" fmla="*/ 2293101 w 4978400"/>
              <a:gd name="connsiteY556" fmla="*/ 1555755 h 3498630"/>
              <a:gd name="connsiteX557" fmla="*/ 2249241 w 4978400"/>
              <a:gd name="connsiteY557" fmla="*/ 1555755 h 3498630"/>
              <a:gd name="connsiteX558" fmla="*/ 2249241 w 4978400"/>
              <a:gd name="connsiteY558" fmla="*/ 1497017 h 3498630"/>
              <a:gd name="connsiteX559" fmla="*/ 2291031 w 4978400"/>
              <a:gd name="connsiteY559" fmla="*/ 1497017 h 3498630"/>
              <a:gd name="connsiteX560" fmla="*/ 2290195 w 4978400"/>
              <a:gd name="connsiteY560" fmla="*/ 1473208 h 3498630"/>
              <a:gd name="connsiteX561" fmla="*/ 2290194 w 4978400"/>
              <a:gd name="connsiteY561" fmla="*/ 1473205 h 3498630"/>
              <a:gd name="connsiteX562" fmla="*/ 2289856 w 4978400"/>
              <a:gd name="connsiteY562" fmla="*/ 1473205 h 3498630"/>
              <a:gd name="connsiteX563" fmla="*/ 2289436 w 4978400"/>
              <a:gd name="connsiteY563" fmla="*/ 1473205 h 3498630"/>
              <a:gd name="connsiteX564" fmla="*/ 2281756 w 4978400"/>
              <a:gd name="connsiteY564" fmla="*/ 1457092 h 3498630"/>
              <a:gd name="connsiteX565" fmla="*/ 2281140 w 4978400"/>
              <a:gd name="connsiteY565" fmla="*/ 1445789 h 3498630"/>
              <a:gd name="connsiteX566" fmla="*/ 2281094 w 4978400"/>
              <a:gd name="connsiteY566" fmla="*/ 1445582 h 3498630"/>
              <a:gd name="connsiteX567" fmla="*/ 2281123 w 4978400"/>
              <a:gd name="connsiteY567" fmla="*/ 1445489 h 3498630"/>
              <a:gd name="connsiteX568" fmla="*/ 2280799 w 4978400"/>
              <a:gd name="connsiteY568" fmla="*/ 1439540 h 3498630"/>
              <a:gd name="connsiteX569" fmla="*/ 2289436 w 4978400"/>
              <a:gd name="connsiteY569" fmla="*/ 1417960 h 3498630"/>
              <a:gd name="connsiteX570" fmla="*/ 2317283 w 4978400"/>
              <a:gd name="connsiteY570" fmla="*/ 1378631 h 3498630"/>
              <a:gd name="connsiteX571" fmla="*/ 2318345 w 4978400"/>
              <a:gd name="connsiteY571" fmla="*/ 1375174 h 3498630"/>
              <a:gd name="connsiteX572" fmla="*/ 2324540 w 4978400"/>
              <a:gd name="connsiteY572" fmla="*/ 1335092 h 3498630"/>
              <a:gd name="connsiteX573" fmla="*/ 2325271 w 4978400"/>
              <a:gd name="connsiteY573" fmla="*/ 1336222 h 3498630"/>
              <a:gd name="connsiteX574" fmla="*/ 2324912 w 4978400"/>
              <a:gd name="connsiteY574" fmla="*/ 1335092 h 3498630"/>
              <a:gd name="connsiteX575" fmla="*/ 2359968 w 4978400"/>
              <a:gd name="connsiteY575" fmla="*/ 1424098 h 3498630"/>
              <a:gd name="connsiteX576" fmla="*/ 2354857 w 4978400"/>
              <a:gd name="connsiteY576" fmla="*/ 1450953 h 3498630"/>
              <a:gd name="connsiteX577" fmla="*/ 2352158 w 4978400"/>
              <a:gd name="connsiteY577" fmla="*/ 1454243 h 3498630"/>
              <a:gd name="connsiteX578" fmla="*/ 2351697 w 4978400"/>
              <a:gd name="connsiteY578" fmla="*/ 1455815 h 3498630"/>
              <a:gd name="connsiteX579" fmla="*/ 2340894 w 4978400"/>
              <a:gd name="connsiteY579" fmla="*/ 1467969 h 3498630"/>
              <a:gd name="connsiteX580" fmla="*/ 2336597 w 4978400"/>
              <a:gd name="connsiteY580" fmla="*/ 1473205 h 3498630"/>
              <a:gd name="connsiteX581" fmla="*/ 2337216 w 4978400"/>
              <a:gd name="connsiteY581" fmla="*/ 1473205 h 3498630"/>
              <a:gd name="connsiteX582" fmla="*/ 2336377 w 4978400"/>
              <a:gd name="connsiteY582" fmla="*/ 1497017 h 3498630"/>
              <a:gd name="connsiteX583" fmla="*/ 2376652 w 4978400"/>
              <a:gd name="connsiteY583" fmla="*/ 1497017 h 3498630"/>
              <a:gd name="connsiteX584" fmla="*/ 2376654 w 4978400"/>
              <a:gd name="connsiteY584" fmla="*/ 1497017 h 3498630"/>
              <a:gd name="connsiteX585" fmla="*/ 2376654 w 4978400"/>
              <a:gd name="connsiteY585" fmla="*/ 1555755 h 3498630"/>
              <a:gd name="connsiteX586" fmla="*/ 2376652 w 4978400"/>
              <a:gd name="connsiteY586" fmla="*/ 1555755 h 3498630"/>
              <a:gd name="connsiteX587" fmla="*/ 2334311 w 4978400"/>
              <a:gd name="connsiteY587" fmla="*/ 1555755 h 3498630"/>
              <a:gd name="connsiteX588" fmla="*/ 2332190 w 4978400"/>
              <a:gd name="connsiteY588" fmla="*/ 1616080 h 3498630"/>
              <a:gd name="connsiteX589" fmla="*/ 2333423 w 4978400"/>
              <a:gd name="connsiteY589" fmla="*/ 1616080 h 3498630"/>
              <a:gd name="connsiteX590" fmla="*/ 2341767 w 4978400"/>
              <a:gd name="connsiteY590" fmla="*/ 1625076 h 3498630"/>
              <a:gd name="connsiteX591" fmla="*/ 2341767 w 4978400"/>
              <a:gd name="connsiteY591" fmla="*/ 1628780 h 3498630"/>
              <a:gd name="connsiteX592" fmla="*/ 2342272 w 4978400"/>
              <a:gd name="connsiteY592" fmla="*/ 1628780 h 3498630"/>
              <a:gd name="connsiteX593" fmla="*/ 2342272 w 4978400"/>
              <a:gd name="connsiteY593" fmla="*/ 1633667 h 3498630"/>
              <a:gd name="connsiteX594" fmla="*/ 2342390 w 4978400"/>
              <a:gd name="connsiteY594" fmla="*/ 1633543 h 3498630"/>
              <a:gd name="connsiteX595" fmla="*/ 2342390 w 4978400"/>
              <a:gd name="connsiteY595" fmla="*/ 1676247 h 3498630"/>
              <a:gd name="connsiteX596" fmla="*/ 2342272 w 4978400"/>
              <a:gd name="connsiteY596" fmla="*/ 1676440 h 3498630"/>
              <a:gd name="connsiteX597" fmla="*/ 2342272 w 4978400"/>
              <a:gd name="connsiteY597" fmla="*/ 1677434 h 3498630"/>
              <a:gd name="connsiteX598" fmla="*/ 2336458 w 4978400"/>
              <a:gd name="connsiteY598" fmla="*/ 1686936 h 3498630"/>
              <a:gd name="connsiteX599" fmla="*/ 2330827 w 4978400"/>
              <a:gd name="connsiteY599" fmla="*/ 1698345 h 3498630"/>
              <a:gd name="connsiteX600" fmla="*/ 2331244 w 4978400"/>
              <a:gd name="connsiteY600" fmla="*/ 1706822 h 3498630"/>
              <a:gd name="connsiteX601" fmla="*/ 2335350 w 4978400"/>
              <a:gd name="connsiteY601" fmla="*/ 1762226 h 3498630"/>
              <a:gd name="connsiteX602" fmla="*/ 2340688 w 4978400"/>
              <a:gd name="connsiteY602" fmla="*/ 1799441 h 3498630"/>
              <a:gd name="connsiteX603" fmla="*/ 2348788 w 4978400"/>
              <a:gd name="connsiteY603" fmla="*/ 1836677 h 3498630"/>
              <a:gd name="connsiteX604" fmla="*/ 2357705 w 4978400"/>
              <a:gd name="connsiteY604" fmla="*/ 1874753 h 3498630"/>
              <a:gd name="connsiteX605" fmla="*/ 2382986 w 4978400"/>
              <a:gd name="connsiteY605" fmla="*/ 1953821 h 3498630"/>
              <a:gd name="connsiteX606" fmla="*/ 2383303 w 4978400"/>
              <a:gd name="connsiteY606" fmla="*/ 1954985 h 3498630"/>
              <a:gd name="connsiteX607" fmla="*/ 2383470 w 4978400"/>
              <a:gd name="connsiteY607" fmla="*/ 1954962 h 3498630"/>
              <a:gd name="connsiteX608" fmla="*/ 2383267 w 4978400"/>
              <a:gd name="connsiteY608" fmla="*/ 1954218 h 3498630"/>
              <a:gd name="connsiteX609" fmla="*/ 2389040 w 4978400"/>
              <a:gd name="connsiteY609" fmla="*/ 1954218 h 3498630"/>
              <a:gd name="connsiteX610" fmla="*/ 2389085 w 4978400"/>
              <a:gd name="connsiteY610" fmla="*/ 1954218 h 3498630"/>
              <a:gd name="connsiteX611" fmla="*/ 2391992 w 4978400"/>
              <a:gd name="connsiteY611" fmla="*/ 1954218 h 3498630"/>
              <a:gd name="connsiteX612" fmla="*/ 2396382 w 4978400"/>
              <a:gd name="connsiteY612" fmla="*/ 1968045 h 3498630"/>
              <a:gd name="connsiteX613" fmla="*/ 2398795 w 4978400"/>
              <a:gd name="connsiteY613" fmla="*/ 1972589 h 3498630"/>
              <a:gd name="connsiteX614" fmla="*/ 2401916 w 4978400"/>
              <a:gd name="connsiteY614" fmla="*/ 1972301 h 3498630"/>
              <a:gd name="connsiteX615" fmla="*/ 2411481 w 4978400"/>
              <a:gd name="connsiteY615" fmla="*/ 1971417 h 3498630"/>
              <a:gd name="connsiteX616" fmla="*/ 2423348 w 4978400"/>
              <a:gd name="connsiteY616" fmla="*/ 1970320 h 3498630"/>
              <a:gd name="connsiteX617" fmla="*/ 2476759 w 4978400"/>
              <a:gd name="connsiteY617" fmla="*/ 1963743 h 3498630"/>
              <a:gd name="connsiteX618" fmla="*/ 2476759 w 4978400"/>
              <a:gd name="connsiteY618" fmla="*/ 1963356 h 3498630"/>
              <a:gd name="connsiteX619" fmla="*/ 2477705 w 4978400"/>
              <a:gd name="connsiteY619" fmla="*/ 1963356 h 3498630"/>
              <a:gd name="connsiteX620" fmla="*/ 2481759 w 4978400"/>
              <a:gd name="connsiteY620" fmla="*/ 1948003 h 3498630"/>
              <a:gd name="connsiteX621" fmla="*/ 2482256 w 4978400"/>
              <a:gd name="connsiteY621" fmla="*/ 1944373 h 3498630"/>
              <a:gd name="connsiteX622" fmla="*/ 2391847 w 4978400"/>
              <a:gd name="connsiteY622" fmla="*/ 1893907 h 3498630"/>
              <a:gd name="connsiteX623" fmla="*/ 2391820 w 4978400"/>
              <a:gd name="connsiteY623" fmla="*/ 1893893 h 3498630"/>
              <a:gd name="connsiteX624" fmla="*/ 2391824 w 4978400"/>
              <a:gd name="connsiteY624" fmla="*/ 1893894 h 3498630"/>
              <a:gd name="connsiteX625" fmla="*/ 2391822 w 4978400"/>
              <a:gd name="connsiteY625" fmla="*/ 1893893 h 3498630"/>
              <a:gd name="connsiteX626" fmla="*/ 2494668 w 4978400"/>
              <a:gd name="connsiteY626" fmla="*/ 1923722 h 3498630"/>
              <a:gd name="connsiteX627" fmla="*/ 2501480 w 4978400"/>
              <a:gd name="connsiteY627" fmla="*/ 1918984 h 3498630"/>
              <a:gd name="connsiteX628" fmla="*/ 2504746 w 4978400"/>
              <a:gd name="connsiteY628" fmla="*/ 1915281 h 3498630"/>
              <a:gd name="connsiteX629" fmla="*/ 2511442 w 4978400"/>
              <a:gd name="connsiteY629" fmla="*/ 1911832 h 3498630"/>
              <a:gd name="connsiteX630" fmla="*/ 2439445 w 4978400"/>
              <a:gd name="connsiteY630" fmla="*/ 1832643 h 3498630"/>
              <a:gd name="connsiteX631" fmla="*/ 2438841 w 4978400"/>
              <a:gd name="connsiteY631" fmla="*/ 1831981 h 3498630"/>
              <a:gd name="connsiteX632" fmla="*/ 2438846 w 4978400"/>
              <a:gd name="connsiteY632" fmla="*/ 1831984 h 3498630"/>
              <a:gd name="connsiteX633" fmla="*/ 2438843 w 4978400"/>
              <a:gd name="connsiteY633" fmla="*/ 1831981 h 3498630"/>
              <a:gd name="connsiteX634" fmla="*/ 2439121 w 4978400"/>
              <a:gd name="connsiteY634" fmla="*/ 1832178 h 3498630"/>
              <a:gd name="connsiteX635" fmla="*/ 2440335 w 4978400"/>
              <a:gd name="connsiteY635" fmla="*/ 1833030 h 3498630"/>
              <a:gd name="connsiteX636" fmla="*/ 2534394 w 4978400"/>
              <a:gd name="connsiteY636" fmla="*/ 1899144 h 3498630"/>
              <a:gd name="connsiteX637" fmla="*/ 2534029 w 4978400"/>
              <a:gd name="connsiteY637" fmla="*/ 1899336 h 3498630"/>
              <a:gd name="connsiteX638" fmla="*/ 2534730 w 4978400"/>
              <a:gd name="connsiteY638" fmla="*/ 1899832 h 3498630"/>
              <a:gd name="connsiteX639" fmla="*/ 2535118 w 4978400"/>
              <a:gd name="connsiteY639" fmla="*/ 1899631 h 3498630"/>
              <a:gd name="connsiteX640" fmla="*/ 2537664 w 4978400"/>
              <a:gd name="connsiteY640" fmla="*/ 1899239 h 3498630"/>
              <a:gd name="connsiteX641" fmla="*/ 2560730 w 4978400"/>
              <a:gd name="connsiteY641" fmla="*/ 1893893 h 3498630"/>
              <a:gd name="connsiteX642" fmla="*/ 2560180 w 4978400"/>
              <a:gd name="connsiteY642" fmla="*/ 1893893 h 3498630"/>
              <a:gd name="connsiteX643" fmla="*/ 2572315 w 4978400"/>
              <a:gd name="connsiteY643" fmla="*/ 1768480 h 3498630"/>
              <a:gd name="connsiteX644" fmla="*/ 2586836 w 4978400"/>
              <a:gd name="connsiteY644" fmla="*/ 1896133 h 3498630"/>
              <a:gd name="connsiteX645" fmla="*/ 2609511 w 4978400"/>
              <a:gd name="connsiteY645" fmla="*/ 1899631 h 3498630"/>
              <a:gd name="connsiteX646" fmla="*/ 2611656 w 4978400"/>
              <a:gd name="connsiteY646" fmla="*/ 1900736 h 3498630"/>
              <a:gd name="connsiteX647" fmla="*/ 2708830 w 4978400"/>
              <a:gd name="connsiteY647" fmla="*/ 1831981 h 3498630"/>
              <a:gd name="connsiteX648" fmla="*/ 2635257 w 4978400"/>
              <a:gd name="connsiteY648" fmla="*/ 1912896 h 3498630"/>
              <a:gd name="connsiteX649" fmla="*/ 2639887 w 4978400"/>
              <a:gd name="connsiteY649" fmla="*/ 1915281 h 3498630"/>
              <a:gd name="connsiteX650" fmla="*/ 2648487 w 4978400"/>
              <a:gd name="connsiteY650" fmla="*/ 1925030 h 3498630"/>
              <a:gd name="connsiteX651" fmla="*/ 2755846 w 4978400"/>
              <a:gd name="connsiteY651" fmla="*/ 1893893 h 3498630"/>
              <a:gd name="connsiteX652" fmla="*/ 2662368 w 4978400"/>
              <a:gd name="connsiteY652" fmla="*/ 1946074 h 3498630"/>
              <a:gd name="connsiteX653" fmla="*/ 2666907 w 4978400"/>
              <a:gd name="connsiteY653" fmla="*/ 1963250 h 3498630"/>
              <a:gd name="connsiteX654" fmla="*/ 2774046 w 4978400"/>
              <a:gd name="connsiteY654" fmla="*/ 1976443 h 3498630"/>
              <a:gd name="connsiteX655" fmla="*/ 2665769 w 4978400"/>
              <a:gd name="connsiteY655" fmla="*/ 1985776 h 3498630"/>
              <a:gd name="connsiteX656" fmla="*/ 2679932 w 4978400"/>
              <a:gd name="connsiteY656" fmla="*/ 2168582 h 3498630"/>
              <a:gd name="connsiteX657" fmla="*/ 2689205 w 4978400"/>
              <a:gd name="connsiteY657" fmla="*/ 2169688 h 3498630"/>
              <a:gd name="connsiteX658" fmla="*/ 2714643 w 4978400"/>
              <a:gd name="connsiteY658" fmla="*/ 2176878 h 3498630"/>
              <a:gd name="connsiteX659" fmla="*/ 2749527 w 4978400"/>
              <a:gd name="connsiteY659" fmla="*/ 2320235 h 3498630"/>
              <a:gd name="connsiteX660" fmla="*/ 2813479 w 4978400"/>
              <a:gd name="connsiteY660" fmla="*/ 2365987 h 3498630"/>
              <a:gd name="connsiteX661" fmla="*/ 2758246 w 4978400"/>
              <a:gd name="connsiteY661" fmla="*/ 2423940 h 3498630"/>
              <a:gd name="connsiteX662" fmla="*/ 2758246 w 4978400"/>
              <a:gd name="connsiteY662" fmla="*/ 2913890 h 3498630"/>
              <a:gd name="connsiteX663" fmla="*/ 2758246 w 4978400"/>
              <a:gd name="connsiteY663" fmla="*/ 2921044 h 3498630"/>
              <a:gd name="connsiteX664" fmla="*/ 2805898 w 4978400"/>
              <a:gd name="connsiteY664" fmla="*/ 2960695 h 3498630"/>
              <a:gd name="connsiteX665" fmla="*/ 2805898 w 4978400"/>
              <a:gd name="connsiteY665" fmla="*/ 3308358 h 3498630"/>
              <a:gd name="connsiteX666" fmla="*/ 2758246 w 4978400"/>
              <a:gd name="connsiteY666" fmla="*/ 3308358 h 3498630"/>
              <a:gd name="connsiteX667" fmla="*/ 2758246 w 4978400"/>
              <a:gd name="connsiteY667" fmla="*/ 3308359 h 3498630"/>
              <a:gd name="connsiteX668" fmla="*/ 2860497 w 4978400"/>
              <a:gd name="connsiteY668" fmla="*/ 3308359 h 3498630"/>
              <a:gd name="connsiteX669" fmla="*/ 2860497 w 4978400"/>
              <a:gd name="connsiteY669" fmla="*/ 3368684 h 3498630"/>
              <a:gd name="connsiteX670" fmla="*/ 2869613 w 4978400"/>
              <a:gd name="connsiteY670" fmla="*/ 3368684 h 3498630"/>
              <a:gd name="connsiteX671" fmla="*/ 2869613 w 4978400"/>
              <a:gd name="connsiteY671" fmla="*/ 3363867 h 3498630"/>
              <a:gd name="connsiteX672" fmla="*/ 2869613 w 4978400"/>
              <a:gd name="connsiteY672" fmla="*/ 3007803 h 3498630"/>
              <a:gd name="connsiteX673" fmla="*/ 2869613 w 4978400"/>
              <a:gd name="connsiteY673" fmla="*/ 2930533 h 3498630"/>
              <a:gd name="connsiteX674" fmla="*/ 2869583 w 4978400"/>
              <a:gd name="connsiteY674" fmla="*/ 2930533 h 3498630"/>
              <a:gd name="connsiteX675" fmla="*/ 2869583 w 4978400"/>
              <a:gd name="connsiteY675" fmla="*/ 2884650 h 3498630"/>
              <a:gd name="connsiteX676" fmla="*/ 2869613 w 4978400"/>
              <a:gd name="connsiteY676" fmla="*/ 2884650 h 3498630"/>
              <a:gd name="connsiteX677" fmla="*/ 2869613 w 4978400"/>
              <a:gd name="connsiteY677" fmla="*/ 2884647 h 3498630"/>
              <a:gd name="connsiteX678" fmla="*/ 2869613 w 4978400"/>
              <a:gd name="connsiteY678" fmla="*/ 2881510 h 3498630"/>
              <a:gd name="connsiteX679" fmla="*/ 2869613 w 4978400"/>
              <a:gd name="connsiteY679" fmla="*/ 2873365 h 3498630"/>
              <a:gd name="connsiteX680" fmla="*/ 2869613 w 4978400"/>
              <a:gd name="connsiteY680" fmla="*/ 2857507 h 3498630"/>
              <a:gd name="connsiteX681" fmla="*/ 2869583 w 4978400"/>
              <a:gd name="connsiteY681" fmla="*/ 2857507 h 3498630"/>
              <a:gd name="connsiteX682" fmla="*/ 2869583 w 4978400"/>
              <a:gd name="connsiteY682" fmla="*/ 2811693 h 3498630"/>
              <a:gd name="connsiteX683" fmla="*/ 2869613 w 4978400"/>
              <a:gd name="connsiteY683" fmla="*/ 2811693 h 3498630"/>
              <a:gd name="connsiteX684" fmla="*/ 2869613 w 4978400"/>
              <a:gd name="connsiteY684" fmla="*/ 2811691 h 3498630"/>
              <a:gd name="connsiteX685" fmla="*/ 2974875 w 4978400"/>
              <a:gd name="connsiteY685" fmla="*/ 2811691 h 3498630"/>
              <a:gd name="connsiteX686" fmla="*/ 3026709 w 4978400"/>
              <a:gd name="connsiteY686" fmla="*/ 2811691 h 3498630"/>
              <a:gd name="connsiteX687" fmla="*/ 3029619 w 4978400"/>
              <a:gd name="connsiteY687" fmla="*/ 2796422 h 3498630"/>
              <a:gd name="connsiteX688" fmla="*/ 3045155 w 4978400"/>
              <a:gd name="connsiteY688" fmla="*/ 2751620 h 3498630"/>
              <a:gd name="connsiteX689" fmla="*/ 3055385 w 4978400"/>
              <a:gd name="connsiteY689" fmla="*/ 2718251 h 3498630"/>
              <a:gd name="connsiteX690" fmla="*/ 3058048 w 4978400"/>
              <a:gd name="connsiteY690" fmla="*/ 2714440 h 3498630"/>
              <a:gd name="connsiteX691" fmla="*/ 3059854 w 4978400"/>
              <a:gd name="connsiteY691" fmla="*/ 2709234 h 3498630"/>
              <a:gd name="connsiteX692" fmla="*/ 3086539 w 4978400"/>
              <a:gd name="connsiteY692" fmla="*/ 2673681 h 3498630"/>
              <a:gd name="connsiteX693" fmla="*/ 3107490 w 4978400"/>
              <a:gd name="connsiteY693" fmla="*/ 2643709 h 3498630"/>
              <a:gd name="connsiteX694" fmla="*/ 3111733 w 4978400"/>
              <a:gd name="connsiteY694" fmla="*/ 2640116 h 3498630"/>
              <a:gd name="connsiteX695" fmla="*/ 3112187 w 4978400"/>
              <a:gd name="connsiteY695" fmla="*/ 2639512 h 3498630"/>
              <a:gd name="connsiteX696" fmla="*/ 3113416 w 4978400"/>
              <a:gd name="connsiteY696" fmla="*/ 2638691 h 3498630"/>
              <a:gd name="connsiteX697" fmla="*/ 3140807 w 4978400"/>
              <a:gd name="connsiteY697" fmla="*/ 2615494 h 3498630"/>
              <a:gd name="connsiteX698" fmla="*/ 3178148 w 4978400"/>
              <a:gd name="connsiteY698" fmla="*/ 2594365 h 3498630"/>
              <a:gd name="connsiteX699" fmla="*/ 3181357 w 4978400"/>
              <a:gd name="connsiteY699" fmla="*/ 2593321 h 3498630"/>
              <a:gd name="connsiteX700" fmla="*/ 3181434 w 4978400"/>
              <a:gd name="connsiteY700" fmla="*/ 2593269 h 3498630"/>
              <a:gd name="connsiteX701" fmla="*/ 3184331 w 4978400"/>
              <a:gd name="connsiteY701" fmla="*/ 2592353 h 3498630"/>
              <a:gd name="connsiteX702" fmla="*/ 3218898 w 4978400"/>
              <a:gd name="connsiteY702" fmla="*/ 2581110 h 3498630"/>
              <a:gd name="connsiteX703" fmla="*/ 3220402 w 4978400"/>
              <a:gd name="connsiteY703" fmla="*/ 2580951 h 3498630"/>
              <a:gd name="connsiteX704" fmla="*/ 3220781 w 4978400"/>
              <a:gd name="connsiteY704" fmla="*/ 2580832 h 3498630"/>
              <a:gd name="connsiteX705" fmla="*/ 3262412 w 4978400"/>
              <a:gd name="connsiteY705" fmla="*/ 2576519 h 3498630"/>
              <a:gd name="connsiteX706" fmla="*/ 3262412 w 4978400"/>
              <a:gd name="connsiteY706" fmla="*/ 2576520 h 3498630"/>
              <a:gd name="connsiteX707" fmla="*/ 3262445 w 4978400"/>
              <a:gd name="connsiteY707" fmla="*/ 2576517 h 3498630"/>
              <a:gd name="connsiteX708" fmla="*/ 3495240 w 4978400"/>
              <a:gd name="connsiteY708" fmla="*/ 2811691 h 3498630"/>
              <a:gd name="connsiteX709" fmla="*/ 3602460 w 4978400"/>
              <a:gd name="connsiteY709" fmla="*/ 2811691 h 3498630"/>
              <a:gd name="connsiteX710" fmla="*/ 3635514 w 4978400"/>
              <a:gd name="connsiteY710" fmla="*/ 2811691 h 3498630"/>
              <a:gd name="connsiteX711" fmla="*/ 3635514 w 4978400"/>
              <a:gd name="connsiteY711" fmla="*/ 2759234 h 3498630"/>
              <a:gd name="connsiteX712" fmla="*/ 3635514 w 4978400"/>
              <a:gd name="connsiteY712" fmla="*/ 2744946 h 3498630"/>
              <a:gd name="connsiteX713" fmla="*/ 3635514 w 4978400"/>
              <a:gd name="connsiteY713" fmla="*/ 2673506 h 3498630"/>
              <a:gd name="connsiteX714" fmla="*/ 3635514 w 4978400"/>
              <a:gd name="connsiteY714" fmla="*/ 2659218 h 3498630"/>
              <a:gd name="connsiteX715" fmla="*/ 3635514 w 4978400"/>
              <a:gd name="connsiteY715" fmla="*/ 2589366 h 3498630"/>
              <a:gd name="connsiteX716" fmla="*/ 3635514 w 4978400"/>
              <a:gd name="connsiteY716" fmla="*/ 2573490 h 3498630"/>
              <a:gd name="connsiteX717" fmla="*/ 3635514 w 4978400"/>
              <a:gd name="connsiteY717" fmla="*/ 2503638 h 3498630"/>
              <a:gd name="connsiteX718" fmla="*/ 3635514 w 4978400"/>
              <a:gd name="connsiteY718" fmla="*/ 2487762 h 3498630"/>
              <a:gd name="connsiteX719" fmla="*/ 3635514 w 4978400"/>
              <a:gd name="connsiteY719" fmla="*/ 2417910 h 3498630"/>
              <a:gd name="connsiteX720" fmla="*/ 3635514 w 4978400"/>
              <a:gd name="connsiteY720" fmla="*/ 2402034 h 3498630"/>
              <a:gd name="connsiteX721" fmla="*/ 3635514 w 4978400"/>
              <a:gd name="connsiteY721" fmla="*/ 2332182 h 3498630"/>
              <a:gd name="connsiteX722" fmla="*/ 3635514 w 4978400"/>
              <a:gd name="connsiteY722" fmla="*/ 2317894 h 3498630"/>
              <a:gd name="connsiteX723" fmla="*/ 3635535 w 4978400"/>
              <a:gd name="connsiteY723" fmla="*/ 2317894 h 3498630"/>
              <a:gd name="connsiteX724" fmla="*/ 3635535 w 4978400"/>
              <a:gd name="connsiteY724" fmla="*/ 2317893 h 3498630"/>
              <a:gd name="connsiteX725" fmla="*/ 3635514 w 4978400"/>
              <a:gd name="connsiteY725" fmla="*/ 2317893 h 3498630"/>
              <a:gd name="connsiteX726" fmla="*/ 3635514 w 4978400"/>
              <a:gd name="connsiteY726" fmla="*/ 2248041 h 3498630"/>
              <a:gd name="connsiteX727" fmla="*/ 3635514 w 4978400"/>
              <a:gd name="connsiteY727" fmla="*/ 2232165 h 3498630"/>
              <a:gd name="connsiteX728" fmla="*/ 3635514 w 4978400"/>
              <a:gd name="connsiteY728" fmla="*/ 2162313 h 3498630"/>
              <a:gd name="connsiteX729" fmla="*/ 3635514 w 4978400"/>
              <a:gd name="connsiteY729" fmla="*/ 2146437 h 3498630"/>
              <a:gd name="connsiteX730" fmla="*/ 3635514 w 4978400"/>
              <a:gd name="connsiteY730" fmla="*/ 2076585 h 3498630"/>
              <a:gd name="connsiteX731" fmla="*/ 3635514 w 4978400"/>
              <a:gd name="connsiteY731" fmla="*/ 2060709 h 3498630"/>
              <a:gd name="connsiteX732" fmla="*/ 3635514 w 4978400"/>
              <a:gd name="connsiteY732" fmla="*/ 1990857 h 3498630"/>
              <a:gd name="connsiteX733" fmla="*/ 3635514 w 4978400"/>
              <a:gd name="connsiteY733" fmla="*/ 1976569 h 3498630"/>
              <a:gd name="connsiteX734" fmla="*/ 3635514 w 4978400"/>
              <a:gd name="connsiteY734" fmla="*/ 1905129 h 3498630"/>
              <a:gd name="connsiteX735" fmla="*/ 3635514 w 4978400"/>
              <a:gd name="connsiteY735" fmla="*/ 1890841 h 3498630"/>
              <a:gd name="connsiteX736" fmla="*/ 3635535 w 4978400"/>
              <a:gd name="connsiteY736" fmla="*/ 1890841 h 3498630"/>
              <a:gd name="connsiteX737" fmla="*/ 3635535 w 4978400"/>
              <a:gd name="connsiteY737" fmla="*/ 1890840 h 3498630"/>
              <a:gd name="connsiteX738" fmla="*/ 3635514 w 4978400"/>
              <a:gd name="connsiteY738" fmla="*/ 1890840 h 3498630"/>
              <a:gd name="connsiteX739" fmla="*/ 3635514 w 4978400"/>
              <a:gd name="connsiteY739" fmla="*/ 1820989 h 3498630"/>
              <a:gd name="connsiteX740" fmla="*/ 3635514 w 4978400"/>
              <a:gd name="connsiteY740" fmla="*/ 1820988 h 3498630"/>
              <a:gd name="connsiteX741" fmla="*/ 3635514 w 4978400"/>
              <a:gd name="connsiteY741" fmla="*/ 1805113 h 3498630"/>
              <a:gd name="connsiteX742" fmla="*/ 3635535 w 4978400"/>
              <a:gd name="connsiteY742" fmla="*/ 1805113 h 3498630"/>
              <a:gd name="connsiteX743" fmla="*/ 3635535 w 4978400"/>
              <a:gd name="connsiteY743" fmla="*/ 1805112 h 3498630"/>
              <a:gd name="connsiteX744" fmla="*/ 3635514 w 4978400"/>
              <a:gd name="connsiteY744" fmla="*/ 1805112 h 3498630"/>
              <a:gd name="connsiteX745" fmla="*/ 3635514 w 4978400"/>
              <a:gd name="connsiteY745" fmla="*/ 1735261 h 3498630"/>
              <a:gd name="connsiteX746" fmla="*/ 3635514 w 4978400"/>
              <a:gd name="connsiteY746" fmla="*/ 1735260 h 3498630"/>
              <a:gd name="connsiteX747" fmla="*/ 3635514 w 4978400"/>
              <a:gd name="connsiteY747" fmla="*/ 1719385 h 3498630"/>
              <a:gd name="connsiteX748" fmla="*/ 3635514 w 4978400"/>
              <a:gd name="connsiteY748" fmla="*/ 1649533 h 3498630"/>
              <a:gd name="connsiteX749" fmla="*/ 3635514 w 4978400"/>
              <a:gd name="connsiteY749" fmla="*/ 1649532 h 3498630"/>
              <a:gd name="connsiteX750" fmla="*/ 3635514 w 4978400"/>
              <a:gd name="connsiteY750" fmla="*/ 1633657 h 3498630"/>
              <a:gd name="connsiteX751" fmla="*/ 3635514 w 4978400"/>
              <a:gd name="connsiteY751" fmla="*/ 1563804 h 3498630"/>
              <a:gd name="connsiteX752" fmla="*/ 3635514 w 4978400"/>
              <a:gd name="connsiteY752" fmla="*/ 1549516 h 3498630"/>
              <a:gd name="connsiteX753" fmla="*/ 3635514 w 4978400"/>
              <a:gd name="connsiteY753" fmla="*/ 1479664 h 3498630"/>
              <a:gd name="connsiteX754" fmla="*/ 3635514 w 4978400"/>
              <a:gd name="connsiteY754" fmla="*/ 1463788 h 3498630"/>
              <a:gd name="connsiteX755" fmla="*/ 3635514 w 4978400"/>
              <a:gd name="connsiteY755" fmla="*/ 1393936 h 3498630"/>
              <a:gd name="connsiteX756" fmla="*/ 3635514 w 4978400"/>
              <a:gd name="connsiteY756" fmla="*/ 1378060 h 3498630"/>
              <a:gd name="connsiteX757" fmla="*/ 3635514 w 4978400"/>
              <a:gd name="connsiteY757" fmla="*/ 1308208 h 3498630"/>
              <a:gd name="connsiteX758" fmla="*/ 3635514 w 4978400"/>
              <a:gd name="connsiteY758" fmla="*/ 1308207 h 3498630"/>
              <a:gd name="connsiteX759" fmla="*/ 3635514 w 4978400"/>
              <a:gd name="connsiteY759" fmla="*/ 1292332 h 3498630"/>
              <a:gd name="connsiteX760" fmla="*/ 3635514 w 4978400"/>
              <a:gd name="connsiteY760" fmla="*/ 1222480 h 3498630"/>
              <a:gd name="connsiteX761" fmla="*/ 3635514 w 4978400"/>
              <a:gd name="connsiteY761" fmla="*/ 1222479 h 3498630"/>
              <a:gd name="connsiteX762" fmla="*/ 3635514 w 4978400"/>
              <a:gd name="connsiteY762" fmla="*/ 1208192 h 3498630"/>
              <a:gd name="connsiteX763" fmla="*/ 3635535 w 4978400"/>
              <a:gd name="connsiteY763" fmla="*/ 1208192 h 3498630"/>
              <a:gd name="connsiteX764" fmla="*/ 3635535 w 4978400"/>
              <a:gd name="connsiteY764" fmla="*/ 1208191 h 3498630"/>
              <a:gd name="connsiteX765" fmla="*/ 3635514 w 4978400"/>
              <a:gd name="connsiteY765" fmla="*/ 1208191 h 3498630"/>
              <a:gd name="connsiteX766" fmla="*/ 3635514 w 4978400"/>
              <a:gd name="connsiteY766" fmla="*/ 1152627 h 3498630"/>
              <a:gd name="connsiteX767" fmla="*/ 3635514 w 4978400"/>
              <a:gd name="connsiteY767" fmla="*/ 1125639 h 3498630"/>
              <a:gd name="connsiteX768" fmla="*/ 3635535 w 4978400"/>
              <a:gd name="connsiteY768" fmla="*/ 1125639 h 3498630"/>
              <a:gd name="connsiteX769" fmla="*/ 3635535 w 4978400"/>
              <a:gd name="connsiteY769" fmla="*/ 1125540 h 3498630"/>
              <a:gd name="connsiteX770" fmla="*/ 3699218 w 4978400"/>
              <a:gd name="connsiteY770" fmla="*/ 1125540 h 3498630"/>
              <a:gd name="connsiteX771" fmla="*/ 3699218 w 4978400"/>
              <a:gd name="connsiteY771" fmla="*/ 1033560 h 3498630"/>
              <a:gd name="connsiteX772" fmla="*/ 3699218 w 4978400"/>
              <a:gd name="connsiteY772" fmla="*/ 1006572 h 3498630"/>
              <a:gd name="connsiteX773" fmla="*/ 3699238 w 4978400"/>
              <a:gd name="connsiteY773" fmla="*/ 1006572 h 3498630"/>
              <a:gd name="connsiteX774" fmla="*/ 3699238 w 4978400"/>
              <a:gd name="connsiteY774" fmla="*/ 1006478 h 3498630"/>
              <a:gd name="connsiteX775" fmla="*/ 3752324 w 4978400"/>
              <a:gd name="connsiteY775" fmla="*/ 1006478 h 3498630"/>
              <a:gd name="connsiteX776" fmla="*/ 3754899 w 4978400"/>
              <a:gd name="connsiteY776" fmla="*/ 1002533 h 3498630"/>
              <a:gd name="connsiteX777" fmla="*/ 3873645 w 4978400"/>
              <a:gd name="connsiteY777" fmla="*/ 817653 h 3498630"/>
              <a:gd name="connsiteX778" fmla="*/ 3875532 w 4978400"/>
              <a:gd name="connsiteY778" fmla="*/ 817653 h 3498630"/>
              <a:gd name="connsiteX779" fmla="*/ 3875532 w 4978400"/>
              <a:gd name="connsiteY779" fmla="*/ 817652 h 3498630"/>
              <a:gd name="connsiteX780" fmla="*/ 3873645 w 4978400"/>
              <a:gd name="connsiteY780" fmla="*/ 817652 h 3498630"/>
              <a:gd name="connsiteX781" fmla="*/ 3834209 w 4978400"/>
              <a:gd name="connsiteY781" fmla="*/ 817652 h 3498630"/>
              <a:gd name="connsiteX782" fmla="*/ 3834209 w 4978400"/>
              <a:gd name="connsiteY782" fmla="*/ 768438 h 3498630"/>
              <a:gd name="connsiteX783" fmla="*/ 3834229 w 4978400"/>
              <a:gd name="connsiteY783" fmla="*/ 768438 h 3498630"/>
              <a:gd name="connsiteX784" fmla="*/ 3834229 w 4978400"/>
              <a:gd name="connsiteY784" fmla="*/ 768352 h 3498630"/>
              <a:gd name="connsiteX785" fmla="*/ 3911563 w 4978400"/>
              <a:gd name="connsiteY785" fmla="*/ 768352 h 3498630"/>
              <a:gd name="connsiteX786" fmla="*/ 3911563 w 4978400"/>
              <a:gd name="connsiteY786" fmla="*/ 766573 h 3498630"/>
              <a:gd name="connsiteX787" fmla="*/ 3911563 w 4978400"/>
              <a:gd name="connsiteY787" fmla="*/ 634468 h 3498630"/>
              <a:gd name="connsiteX788" fmla="*/ 3911584 w 4978400"/>
              <a:gd name="connsiteY788" fmla="*/ 634468 h 3498630"/>
              <a:gd name="connsiteX789" fmla="*/ 3911584 w 4978400"/>
              <a:gd name="connsiteY789" fmla="*/ 633496 h 3498630"/>
              <a:gd name="connsiteX790" fmla="*/ 3911564 w 4978400"/>
              <a:gd name="connsiteY790" fmla="*/ 633496 h 3498630"/>
              <a:gd name="connsiteX791" fmla="*/ 3888811 w 4978400"/>
              <a:gd name="connsiteY791" fmla="*/ 633496 h 3498630"/>
              <a:gd name="connsiteX792" fmla="*/ 3888811 w 4978400"/>
              <a:gd name="connsiteY792" fmla="*/ 612858 h 3498630"/>
              <a:gd name="connsiteX793" fmla="*/ 3888832 w 4978400"/>
              <a:gd name="connsiteY793" fmla="*/ 612858 h 3498630"/>
              <a:gd name="connsiteX794" fmla="*/ 3888832 w 4978400"/>
              <a:gd name="connsiteY794" fmla="*/ 612777 h 3498630"/>
              <a:gd name="connsiteX795" fmla="*/ 3911563 w 4978400"/>
              <a:gd name="connsiteY795" fmla="*/ 612777 h 3498630"/>
              <a:gd name="connsiteX796" fmla="*/ 3911563 w 4978400"/>
              <a:gd name="connsiteY796" fmla="*/ 610735 h 3498630"/>
              <a:gd name="connsiteX797" fmla="*/ 3911563 w 4978400"/>
              <a:gd name="connsiteY797" fmla="*/ 460616 h 3498630"/>
              <a:gd name="connsiteX798" fmla="*/ 3911584 w 4978400"/>
              <a:gd name="connsiteY798" fmla="*/ 460616 h 3498630"/>
              <a:gd name="connsiteX799" fmla="*/ 3911584 w 4978400"/>
              <a:gd name="connsiteY799" fmla="*/ 460452 h 3498630"/>
              <a:gd name="connsiteX800" fmla="*/ 3911564 w 4978400"/>
              <a:gd name="connsiteY800" fmla="*/ 460452 h 3498630"/>
              <a:gd name="connsiteX801" fmla="*/ 3888811 w 4978400"/>
              <a:gd name="connsiteY801" fmla="*/ 460452 h 3498630"/>
              <a:gd name="connsiteX802" fmla="*/ 3888811 w 4978400"/>
              <a:gd name="connsiteY802" fmla="*/ 439814 h 3498630"/>
              <a:gd name="connsiteX803" fmla="*/ 3888832 w 4978400"/>
              <a:gd name="connsiteY803" fmla="*/ 439814 h 3498630"/>
              <a:gd name="connsiteX804" fmla="*/ 3888832 w 4978400"/>
              <a:gd name="connsiteY804" fmla="*/ 439739 h 3498630"/>
              <a:gd name="connsiteX805" fmla="*/ 3911584 w 4978400"/>
              <a:gd name="connsiteY805" fmla="*/ 439739 h 3498630"/>
              <a:gd name="connsiteX806" fmla="*/ 3911584 w 4978400"/>
              <a:gd name="connsiteY806" fmla="*/ 439266 h 3498630"/>
              <a:gd name="connsiteX807" fmla="*/ 3911563 w 4978400"/>
              <a:gd name="connsiteY807" fmla="*/ 439266 h 3498630"/>
              <a:gd name="connsiteX808" fmla="*/ 3911563 w 4978400"/>
              <a:gd name="connsiteY808" fmla="*/ 337101 h 3498630"/>
              <a:gd name="connsiteX809" fmla="*/ 3911563 w 4978400"/>
              <a:gd name="connsiteY809" fmla="*/ 287409 h 3498630"/>
              <a:gd name="connsiteX810" fmla="*/ 3888811 w 4978400"/>
              <a:gd name="connsiteY810" fmla="*/ 287409 h 3498630"/>
              <a:gd name="connsiteX811" fmla="*/ 3888811 w 4978400"/>
              <a:gd name="connsiteY811" fmla="*/ 265183 h 3498630"/>
              <a:gd name="connsiteX812" fmla="*/ 3888832 w 4978400"/>
              <a:gd name="connsiteY812" fmla="*/ 265183 h 3498630"/>
              <a:gd name="connsiteX813" fmla="*/ 3888832 w 4978400"/>
              <a:gd name="connsiteY813" fmla="*/ 265113 h 3498630"/>
              <a:gd name="connsiteX814" fmla="*/ 3911563 w 4978400"/>
              <a:gd name="connsiteY814" fmla="*/ 265113 h 3498630"/>
              <a:gd name="connsiteX815" fmla="*/ 3911563 w 4978400"/>
              <a:gd name="connsiteY815" fmla="*/ 262983 h 3498630"/>
              <a:gd name="connsiteX816" fmla="*/ 3911563 w 4978400"/>
              <a:gd name="connsiteY816" fmla="*/ 109862 h 3498630"/>
              <a:gd name="connsiteX817" fmla="*/ 3911584 w 4978400"/>
              <a:gd name="connsiteY817" fmla="*/ 109862 h 3498630"/>
              <a:gd name="connsiteX818" fmla="*/ 3911584 w 4978400"/>
              <a:gd name="connsiteY818" fmla="*/ 109602 h 3498630"/>
              <a:gd name="connsiteX819" fmla="*/ 3911564 w 4978400"/>
              <a:gd name="connsiteY819" fmla="*/ 109602 h 3498630"/>
              <a:gd name="connsiteX820" fmla="*/ 3888811 w 4978400"/>
              <a:gd name="connsiteY820" fmla="*/ 109602 h 3498630"/>
              <a:gd name="connsiteX821" fmla="*/ 3888811 w 4978400"/>
              <a:gd name="connsiteY821" fmla="*/ 92139 h 3498630"/>
              <a:gd name="connsiteX822" fmla="*/ 3888832 w 4978400"/>
              <a:gd name="connsiteY822" fmla="*/ 92139 h 3498630"/>
              <a:gd name="connsiteX823" fmla="*/ 3888832 w 4978400"/>
              <a:gd name="connsiteY823" fmla="*/ 92075 h 3498630"/>
              <a:gd name="connsiteX824" fmla="*/ 3911584 w 4978400"/>
              <a:gd name="connsiteY824" fmla="*/ 92075 h 3498630"/>
              <a:gd name="connsiteX825" fmla="*/ 3911584 w 4978400"/>
              <a:gd name="connsiteY825" fmla="*/ 91562 h 3498630"/>
              <a:gd name="connsiteX826" fmla="*/ 3911563 w 4978400"/>
              <a:gd name="connsiteY826" fmla="*/ 91562 h 3498630"/>
              <a:gd name="connsiteX827" fmla="*/ 3911563 w 4978400"/>
              <a:gd name="connsiteY827" fmla="*/ 9211 h 3498630"/>
              <a:gd name="connsiteX828" fmla="*/ 3911584 w 4978400"/>
              <a:gd name="connsiteY828" fmla="*/ 9190 h 3498630"/>
              <a:gd name="connsiteX829" fmla="*/ 3911584 w 4978400"/>
              <a:gd name="connsiteY829" fmla="*/ 9150 h 3498630"/>
              <a:gd name="connsiteX830" fmla="*/ 3920684 w 4978400"/>
              <a:gd name="connsiteY830" fmla="*/ 0 h 3498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</a:cxnLst>
            <a:rect l="l" t="t" r="r" b="b"/>
            <a:pathLst>
              <a:path w="4978400" h="3498630">
                <a:moveTo>
                  <a:pt x="4205835" y="3444897"/>
                </a:moveTo>
                <a:lnTo>
                  <a:pt x="4205835" y="3444898"/>
                </a:lnTo>
                <a:lnTo>
                  <a:pt x="4205903" y="3444898"/>
                </a:lnTo>
                <a:lnTo>
                  <a:pt x="4206598" y="3444898"/>
                </a:lnTo>
                <a:lnTo>
                  <a:pt x="4212749" y="3444898"/>
                </a:lnTo>
                <a:lnTo>
                  <a:pt x="4227357" y="3444898"/>
                </a:lnTo>
                <a:lnTo>
                  <a:pt x="4255806" y="3444898"/>
                </a:lnTo>
                <a:lnTo>
                  <a:pt x="4302708" y="3444898"/>
                </a:lnTo>
                <a:lnTo>
                  <a:pt x="4372675" y="3444898"/>
                </a:lnTo>
                <a:lnTo>
                  <a:pt x="4470323" y="3444898"/>
                </a:lnTo>
                <a:lnTo>
                  <a:pt x="4600263" y="3444898"/>
                </a:lnTo>
                <a:lnTo>
                  <a:pt x="4945993" y="3444898"/>
                </a:lnTo>
                <a:lnTo>
                  <a:pt x="4945993" y="3444897"/>
                </a:lnTo>
                <a:lnTo>
                  <a:pt x="4603297" y="3444897"/>
                </a:lnTo>
                <a:lnTo>
                  <a:pt x="4600263" y="3444897"/>
                </a:lnTo>
                <a:lnTo>
                  <a:pt x="4205903" y="3444897"/>
                </a:lnTo>
                <a:close/>
                <a:moveTo>
                  <a:pt x="2860497" y="3421072"/>
                </a:moveTo>
                <a:lnTo>
                  <a:pt x="2860497" y="3479809"/>
                </a:lnTo>
                <a:lnTo>
                  <a:pt x="2869638" y="3479809"/>
                </a:lnTo>
                <a:lnTo>
                  <a:pt x="2869638" y="3479267"/>
                </a:lnTo>
                <a:lnTo>
                  <a:pt x="2869613" y="3479267"/>
                </a:lnTo>
                <a:cubicBezTo>
                  <a:pt x="2869613" y="3479267"/>
                  <a:pt x="2869613" y="3479267"/>
                  <a:pt x="2869613" y="3421345"/>
                </a:cubicBezTo>
                <a:lnTo>
                  <a:pt x="2869638" y="3421345"/>
                </a:lnTo>
                <a:lnTo>
                  <a:pt x="2869638" y="3421072"/>
                </a:lnTo>
                <a:close/>
                <a:moveTo>
                  <a:pt x="3462038" y="2857505"/>
                </a:moveTo>
                <a:lnTo>
                  <a:pt x="3462033" y="2857520"/>
                </a:lnTo>
                <a:lnTo>
                  <a:pt x="3635514" y="2857520"/>
                </a:lnTo>
                <a:lnTo>
                  <a:pt x="3635514" y="2857505"/>
                </a:lnTo>
                <a:lnTo>
                  <a:pt x="3616923" y="2857505"/>
                </a:lnTo>
                <a:cubicBezTo>
                  <a:pt x="3593905" y="2857505"/>
                  <a:pt x="3557077" y="2857505"/>
                  <a:pt x="3498150" y="2857505"/>
                </a:cubicBezTo>
                <a:cubicBezTo>
                  <a:pt x="3498150" y="2857505"/>
                  <a:pt x="3498150" y="2857505"/>
                  <a:pt x="3479736" y="2857505"/>
                </a:cubicBezTo>
                <a:close/>
                <a:moveTo>
                  <a:pt x="4978400" y="2449932"/>
                </a:moveTo>
                <a:lnTo>
                  <a:pt x="4978400" y="2476536"/>
                </a:lnTo>
                <a:lnTo>
                  <a:pt x="4946007" y="2476536"/>
                </a:lnTo>
                <a:close/>
                <a:moveTo>
                  <a:pt x="2875664" y="2305057"/>
                </a:moveTo>
                <a:lnTo>
                  <a:pt x="2992444" y="2401892"/>
                </a:lnTo>
                <a:lnTo>
                  <a:pt x="2992446" y="2401894"/>
                </a:lnTo>
                <a:lnTo>
                  <a:pt x="2992446" y="2401895"/>
                </a:lnTo>
                <a:lnTo>
                  <a:pt x="2992446" y="2430469"/>
                </a:lnTo>
                <a:lnTo>
                  <a:pt x="2964035" y="2465248"/>
                </a:lnTo>
                <a:lnTo>
                  <a:pt x="2965620" y="2468648"/>
                </a:lnTo>
                <a:cubicBezTo>
                  <a:pt x="2965987" y="2475435"/>
                  <a:pt x="2963792" y="2482221"/>
                  <a:pt x="2959405" y="2488254"/>
                </a:cubicBezTo>
                <a:lnTo>
                  <a:pt x="2936004" y="2518417"/>
                </a:lnTo>
                <a:cubicBezTo>
                  <a:pt x="2930156" y="2522941"/>
                  <a:pt x="2923574" y="2525957"/>
                  <a:pt x="2916992" y="2526334"/>
                </a:cubicBezTo>
                <a:lnTo>
                  <a:pt x="2914859" y="2525446"/>
                </a:lnTo>
                <a:lnTo>
                  <a:pt x="2813479" y="2649545"/>
                </a:lnTo>
                <a:lnTo>
                  <a:pt x="2758881" y="2600332"/>
                </a:lnTo>
                <a:lnTo>
                  <a:pt x="2758881" y="2573345"/>
                </a:lnTo>
                <a:lnTo>
                  <a:pt x="2758881" y="2570170"/>
                </a:lnTo>
                <a:lnTo>
                  <a:pt x="2758881" y="2424120"/>
                </a:lnTo>
                <a:close/>
                <a:moveTo>
                  <a:pt x="1081444" y="2162183"/>
                </a:moveTo>
                <a:cubicBezTo>
                  <a:pt x="1236108" y="2162183"/>
                  <a:pt x="1365160" y="2277546"/>
                  <a:pt x="1394994" y="2430907"/>
                </a:cubicBezTo>
                <a:lnTo>
                  <a:pt x="1398452" y="2466998"/>
                </a:lnTo>
                <a:lnTo>
                  <a:pt x="1486427" y="2466998"/>
                </a:lnTo>
                <a:lnTo>
                  <a:pt x="1486427" y="2530498"/>
                </a:lnTo>
                <a:lnTo>
                  <a:pt x="1457595" y="2530498"/>
                </a:lnTo>
                <a:lnTo>
                  <a:pt x="1457595" y="3030548"/>
                </a:lnTo>
                <a:lnTo>
                  <a:pt x="1495499" y="3030548"/>
                </a:lnTo>
                <a:lnTo>
                  <a:pt x="1495499" y="3498630"/>
                </a:lnTo>
                <a:lnTo>
                  <a:pt x="667344" y="3498630"/>
                </a:lnTo>
                <a:lnTo>
                  <a:pt x="667344" y="3030548"/>
                </a:lnTo>
                <a:lnTo>
                  <a:pt x="705264" y="3030548"/>
                </a:lnTo>
                <a:lnTo>
                  <a:pt x="705264" y="2530498"/>
                </a:lnTo>
                <a:lnTo>
                  <a:pt x="679495" y="2530498"/>
                </a:lnTo>
                <a:lnTo>
                  <a:pt x="679494" y="2530498"/>
                </a:lnTo>
                <a:lnTo>
                  <a:pt x="679494" y="2530494"/>
                </a:lnTo>
                <a:lnTo>
                  <a:pt x="679482" y="2530494"/>
                </a:lnTo>
                <a:lnTo>
                  <a:pt x="679482" y="2466994"/>
                </a:lnTo>
                <a:lnTo>
                  <a:pt x="761391" y="2466994"/>
                </a:lnTo>
                <a:lnTo>
                  <a:pt x="761404" y="2466994"/>
                </a:lnTo>
                <a:lnTo>
                  <a:pt x="766082" y="2449755"/>
                </a:lnTo>
                <a:lnTo>
                  <a:pt x="767886" y="2430907"/>
                </a:lnTo>
                <a:lnTo>
                  <a:pt x="779992" y="2398478"/>
                </a:lnTo>
                <a:lnTo>
                  <a:pt x="792224" y="2353411"/>
                </a:lnTo>
                <a:lnTo>
                  <a:pt x="802094" y="2339285"/>
                </a:lnTo>
                <a:lnTo>
                  <a:pt x="807716" y="2324220"/>
                </a:lnTo>
                <a:lnTo>
                  <a:pt x="840118" y="2284867"/>
                </a:lnTo>
                <a:lnTo>
                  <a:pt x="857414" y="2260113"/>
                </a:lnTo>
                <a:lnTo>
                  <a:pt x="867780" y="2251269"/>
                </a:lnTo>
                <a:lnTo>
                  <a:pt x="877849" y="2239035"/>
                </a:lnTo>
                <a:cubicBezTo>
                  <a:pt x="919356" y="2203026"/>
                  <a:pt x="969626" y="2177801"/>
                  <a:pt x="1024786" y="2167439"/>
                </a:cubicBezTo>
                <a:lnTo>
                  <a:pt x="1072739" y="2162991"/>
                </a:lnTo>
                <a:lnTo>
                  <a:pt x="1072739" y="2162196"/>
                </a:lnTo>
                <a:cubicBezTo>
                  <a:pt x="1075646" y="2162196"/>
                  <a:pt x="1075646" y="2162196"/>
                  <a:pt x="1075646" y="2162196"/>
                </a:cubicBezTo>
                <a:cubicBezTo>
                  <a:pt x="1075646" y="2162196"/>
                  <a:pt x="1075646" y="2162196"/>
                  <a:pt x="1078554" y="2162196"/>
                </a:cubicBezTo>
                <a:lnTo>
                  <a:pt x="1081304" y="2162196"/>
                </a:lnTo>
                <a:close/>
                <a:moveTo>
                  <a:pt x="2402144" y="1978902"/>
                </a:moveTo>
                <a:lnTo>
                  <a:pt x="2414037" y="2001298"/>
                </a:lnTo>
                <a:lnTo>
                  <a:pt x="2437074" y="2040478"/>
                </a:lnTo>
                <a:lnTo>
                  <a:pt x="2443565" y="2049066"/>
                </a:lnTo>
                <a:lnTo>
                  <a:pt x="2474007" y="2086350"/>
                </a:lnTo>
                <a:lnTo>
                  <a:pt x="2474407" y="2082503"/>
                </a:lnTo>
                <a:lnTo>
                  <a:pt x="2481776" y="1987403"/>
                </a:lnTo>
                <a:lnTo>
                  <a:pt x="2477702" y="1986812"/>
                </a:lnTo>
                <a:cubicBezTo>
                  <a:pt x="2475139" y="1986440"/>
                  <a:pt x="2471295" y="1985882"/>
                  <a:pt x="2465529" y="1985044"/>
                </a:cubicBezTo>
                <a:lnTo>
                  <a:pt x="2454009" y="1983372"/>
                </a:lnTo>
                <a:close/>
                <a:moveTo>
                  <a:pt x="1862362" y="1217205"/>
                </a:moveTo>
                <a:lnTo>
                  <a:pt x="1861861" y="1228726"/>
                </a:lnTo>
                <a:lnTo>
                  <a:pt x="1862110" y="1222996"/>
                </a:lnTo>
                <a:close/>
                <a:moveTo>
                  <a:pt x="1863264" y="1196515"/>
                </a:moveTo>
                <a:lnTo>
                  <a:pt x="1862765" y="1208011"/>
                </a:lnTo>
                <a:lnTo>
                  <a:pt x="1862362" y="1217205"/>
                </a:lnTo>
                <a:close/>
                <a:moveTo>
                  <a:pt x="439858" y="1143009"/>
                </a:moveTo>
                <a:cubicBezTo>
                  <a:pt x="439858" y="1143009"/>
                  <a:pt x="439858" y="1143009"/>
                  <a:pt x="505077" y="1143009"/>
                </a:cubicBezTo>
                <a:lnTo>
                  <a:pt x="505077" y="1146061"/>
                </a:lnTo>
                <a:cubicBezTo>
                  <a:pt x="505077" y="1146061"/>
                  <a:pt x="505077" y="1146061"/>
                  <a:pt x="439858" y="1146061"/>
                </a:cubicBezTo>
                <a:cubicBezTo>
                  <a:pt x="439858" y="1146061"/>
                  <a:pt x="439858" y="1146061"/>
                  <a:pt x="439858" y="1143009"/>
                </a:cubicBezTo>
                <a:close/>
                <a:moveTo>
                  <a:pt x="1865917" y="1135706"/>
                </a:moveTo>
                <a:lnTo>
                  <a:pt x="1864037" y="1178830"/>
                </a:lnTo>
                <a:lnTo>
                  <a:pt x="1863264" y="1196515"/>
                </a:lnTo>
                <a:close/>
                <a:moveTo>
                  <a:pt x="1867170" y="1107011"/>
                </a:moveTo>
                <a:lnTo>
                  <a:pt x="1865917" y="1135706"/>
                </a:lnTo>
                <a:lnTo>
                  <a:pt x="1866134" y="1130720"/>
                </a:lnTo>
                <a:close/>
                <a:moveTo>
                  <a:pt x="1867831" y="1091845"/>
                </a:moveTo>
                <a:lnTo>
                  <a:pt x="1867170" y="1107011"/>
                </a:lnTo>
                <a:lnTo>
                  <a:pt x="1867648" y="1096018"/>
                </a:lnTo>
                <a:close/>
                <a:moveTo>
                  <a:pt x="1873454" y="962961"/>
                </a:moveTo>
                <a:lnTo>
                  <a:pt x="1869268" y="1058950"/>
                </a:lnTo>
                <a:lnTo>
                  <a:pt x="1867831" y="1091845"/>
                </a:lnTo>
                <a:lnTo>
                  <a:pt x="1872019" y="995856"/>
                </a:lnTo>
                <a:close/>
                <a:moveTo>
                  <a:pt x="1874116" y="947795"/>
                </a:moveTo>
                <a:lnTo>
                  <a:pt x="1873454" y="962961"/>
                </a:lnTo>
                <a:lnTo>
                  <a:pt x="1873634" y="958788"/>
                </a:lnTo>
                <a:close/>
                <a:moveTo>
                  <a:pt x="1875367" y="919100"/>
                </a:moveTo>
                <a:lnTo>
                  <a:pt x="1875149" y="924086"/>
                </a:lnTo>
                <a:lnTo>
                  <a:pt x="1874116" y="947795"/>
                </a:lnTo>
                <a:close/>
                <a:moveTo>
                  <a:pt x="245612" y="889802"/>
                </a:moveTo>
                <a:lnTo>
                  <a:pt x="244967" y="892898"/>
                </a:lnTo>
                <a:lnTo>
                  <a:pt x="244985" y="892809"/>
                </a:lnTo>
                <a:close/>
                <a:moveTo>
                  <a:pt x="250113" y="868242"/>
                </a:moveTo>
                <a:lnTo>
                  <a:pt x="245612" y="889802"/>
                </a:lnTo>
                <a:lnTo>
                  <a:pt x="246582" y="885155"/>
                </a:lnTo>
                <a:close/>
                <a:moveTo>
                  <a:pt x="253069" y="854082"/>
                </a:moveTo>
                <a:lnTo>
                  <a:pt x="250113" y="868242"/>
                </a:lnTo>
                <a:lnTo>
                  <a:pt x="250919" y="864379"/>
                </a:lnTo>
                <a:close/>
                <a:moveTo>
                  <a:pt x="254811" y="845732"/>
                </a:moveTo>
                <a:lnTo>
                  <a:pt x="253069" y="854082"/>
                </a:lnTo>
                <a:lnTo>
                  <a:pt x="253201" y="853444"/>
                </a:lnTo>
                <a:close/>
                <a:moveTo>
                  <a:pt x="258507" y="828020"/>
                </a:moveTo>
                <a:lnTo>
                  <a:pt x="257537" y="832668"/>
                </a:lnTo>
                <a:lnTo>
                  <a:pt x="254811" y="845732"/>
                </a:lnTo>
                <a:close/>
                <a:moveTo>
                  <a:pt x="259363" y="823920"/>
                </a:moveTo>
                <a:lnTo>
                  <a:pt x="258507" y="828020"/>
                </a:lnTo>
                <a:lnTo>
                  <a:pt x="259134" y="825013"/>
                </a:lnTo>
                <a:cubicBezTo>
                  <a:pt x="259363" y="823920"/>
                  <a:pt x="259363" y="823920"/>
                  <a:pt x="259363" y="823920"/>
                </a:cubicBezTo>
                <a:close/>
                <a:moveTo>
                  <a:pt x="3890650" y="817652"/>
                </a:moveTo>
                <a:lnTo>
                  <a:pt x="3768712" y="1002333"/>
                </a:lnTo>
                <a:lnTo>
                  <a:pt x="3766017" y="1006478"/>
                </a:lnTo>
                <a:lnTo>
                  <a:pt x="3911563" y="1006478"/>
                </a:lnTo>
                <a:lnTo>
                  <a:pt x="3911563" y="1003617"/>
                </a:lnTo>
                <a:cubicBezTo>
                  <a:pt x="3911563" y="996230"/>
                  <a:pt x="3911563" y="970377"/>
                  <a:pt x="3911563" y="879888"/>
                </a:cubicBezTo>
                <a:lnTo>
                  <a:pt x="3911563" y="817652"/>
                </a:lnTo>
                <a:close/>
                <a:moveTo>
                  <a:pt x="3932819" y="817565"/>
                </a:moveTo>
                <a:lnTo>
                  <a:pt x="3932819" y="850648"/>
                </a:lnTo>
                <a:cubicBezTo>
                  <a:pt x="3932819" y="910855"/>
                  <a:pt x="3932819" y="961487"/>
                  <a:pt x="3932819" y="1004066"/>
                </a:cubicBezTo>
                <a:lnTo>
                  <a:pt x="3932819" y="1006478"/>
                </a:lnTo>
                <a:lnTo>
                  <a:pt x="4078427" y="1006478"/>
                </a:lnTo>
                <a:lnTo>
                  <a:pt x="3953695" y="817565"/>
                </a:lnTo>
                <a:close/>
                <a:moveTo>
                  <a:pt x="261685" y="814243"/>
                </a:moveTo>
                <a:lnTo>
                  <a:pt x="259368" y="823889"/>
                </a:lnTo>
                <a:cubicBezTo>
                  <a:pt x="259368" y="823889"/>
                  <a:pt x="259368" y="823889"/>
                  <a:pt x="260463" y="819330"/>
                </a:cubicBezTo>
                <a:close/>
                <a:moveTo>
                  <a:pt x="265810" y="797067"/>
                </a:moveTo>
                <a:lnTo>
                  <a:pt x="264432" y="802806"/>
                </a:lnTo>
                <a:lnTo>
                  <a:pt x="261685" y="814243"/>
                </a:lnTo>
                <a:lnTo>
                  <a:pt x="263064" y="808504"/>
                </a:lnTo>
                <a:close/>
                <a:moveTo>
                  <a:pt x="268128" y="787421"/>
                </a:moveTo>
                <a:cubicBezTo>
                  <a:pt x="268128" y="787421"/>
                  <a:pt x="268128" y="787421"/>
                  <a:pt x="267033" y="791979"/>
                </a:cubicBezTo>
                <a:lnTo>
                  <a:pt x="265810" y="797067"/>
                </a:lnTo>
                <a:close/>
                <a:moveTo>
                  <a:pt x="309416" y="387356"/>
                </a:moveTo>
                <a:lnTo>
                  <a:pt x="309416" y="387357"/>
                </a:lnTo>
                <a:lnTo>
                  <a:pt x="309416" y="387555"/>
                </a:lnTo>
                <a:lnTo>
                  <a:pt x="309421" y="387471"/>
                </a:lnTo>
                <a:lnTo>
                  <a:pt x="309421" y="387368"/>
                </a:lnTo>
                <a:lnTo>
                  <a:pt x="309421" y="387367"/>
                </a:lnTo>
                <a:lnTo>
                  <a:pt x="309423" y="387419"/>
                </a:lnTo>
                <a:lnTo>
                  <a:pt x="309426" y="387367"/>
                </a:lnTo>
                <a:lnTo>
                  <a:pt x="329629" y="752483"/>
                </a:lnTo>
                <a:lnTo>
                  <a:pt x="352751" y="752483"/>
                </a:lnTo>
                <a:cubicBezTo>
                  <a:pt x="357084" y="752483"/>
                  <a:pt x="361417" y="754070"/>
                  <a:pt x="364667" y="756849"/>
                </a:cubicBezTo>
                <a:lnTo>
                  <a:pt x="364672" y="756858"/>
                </a:lnTo>
                <a:lnTo>
                  <a:pt x="364680" y="756861"/>
                </a:lnTo>
                <a:cubicBezTo>
                  <a:pt x="367925" y="759639"/>
                  <a:pt x="370090" y="763607"/>
                  <a:pt x="370090" y="768370"/>
                </a:cubicBezTo>
                <a:cubicBezTo>
                  <a:pt x="370090" y="777895"/>
                  <a:pt x="361433" y="787420"/>
                  <a:pt x="352777" y="787420"/>
                </a:cubicBezTo>
                <a:lnTo>
                  <a:pt x="351136" y="787420"/>
                </a:lnTo>
                <a:lnTo>
                  <a:pt x="376300" y="892776"/>
                </a:lnTo>
                <a:lnTo>
                  <a:pt x="379399" y="894927"/>
                </a:lnTo>
                <a:cubicBezTo>
                  <a:pt x="397147" y="913215"/>
                  <a:pt x="408012" y="938361"/>
                  <a:pt x="408012" y="965794"/>
                </a:cubicBezTo>
                <a:cubicBezTo>
                  <a:pt x="408012" y="965794"/>
                  <a:pt x="408012" y="965794"/>
                  <a:pt x="408012" y="972271"/>
                </a:cubicBezTo>
                <a:lnTo>
                  <a:pt x="408012" y="982570"/>
                </a:lnTo>
                <a:lnTo>
                  <a:pt x="414429" y="992604"/>
                </a:lnTo>
                <a:cubicBezTo>
                  <a:pt x="420081" y="1006856"/>
                  <a:pt x="423180" y="1022628"/>
                  <a:pt x="423180" y="1039351"/>
                </a:cubicBezTo>
                <a:cubicBezTo>
                  <a:pt x="423180" y="1039351"/>
                  <a:pt x="423180" y="1039351"/>
                  <a:pt x="423180" y="1046952"/>
                </a:cubicBezTo>
                <a:lnTo>
                  <a:pt x="423180" y="1059264"/>
                </a:lnTo>
                <a:lnTo>
                  <a:pt x="427039" y="1065350"/>
                </a:lnTo>
                <a:cubicBezTo>
                  <a:pt x="433365" y="1081508"/>
                  <a:pt x="436825" y="1099430"/>
                  <a:pt x="436825" y="1118495"/>
                </a:cubicBezTo>
                <a:lnTo>
                  <a:pt x="436825" y="1118731"/>
                </a:lnTo>
                <a:lnTo>
                  <a:pt x="436829" y="1118761"/>
                </a:lnTo>
                <a:cubicBezTo>
                  <a:pt x="436829" y="1118761"/>
                  <a:pt x="436829" y="1118761"/>
                  <a:pt x="436829" y="1127549"/>
                </a:cubicBezTo>
                <a:lnTo>
                  <a:pt x="436829" y="1140079"/>
                </a:lnTo>
                <a:lnTo>
                  <a:pt x="439807" y="1146199"/>
                </a:lnTo>
                <a:lnTo>
                  <a:pt x="439858" y="1146199"/>
                </a:lnTo>
                <a:lnTo>
                  <a:pt x="439861" y="1146199"/>
                </a:lnTo>
                <a:lnTo>
                  <a:pt x="439858" y="1146184"/>
                </a:lnTo>
                <a:cubicBezTo>
                  <a:pt x="439858" y="1146184"/>
                  <a:pt x="439858" y="1146184"/>
                  <a:pt x="505077" y="1146184"/>
                </a:cubicBezTo>
                <a:lnTo>
                  <a:pt x="505077" y="1146199"/>
                </a:lnTo>
                <a:lnTo>
                  <a:pt x="505079" y="1146199"/>
                </a:lnTo>
                <a:lnTo>
                  <a:pt x="505079" y="1457352"/>
                </a:lnTo>
                <a:lnTo>
                  <a:pt x="550578" y="1457352"/>
                </a:lnTo>
                <a:lnTo>
                  <a:pt x="550578" y="1457352"/>
                </a:lnTo>
                <a:lnTo>
                  <a:pt x="550584" y="1457352"/>
                </a:lnTo>
                <a:lnTo>
                  <a:pt x="550584" y="3378219"/>
                </a:lnTo>
                <a:lnTo>
                  <a:pt x="620348" y="3378219"/>
                </a:lnTo>
                <a:lnTo>
                  <a:pt x="620348" y="3378245"/>
                </a:lnTo>
                <a:lnTo>
                  <a:pt x="620350" y="3378245"/>
                </a:lnTo>
                <a:lnTo>
                  <a:pt x="620350" y="3498630"/>
                </a:lnTo>
                <a:lnTo>
                  <a:pt x="0" y="3498630"/>
                </a:lnTo>
                <a:lnTo>
                  <a:pt x="0" y="3378219"/>
                </a:lnTo>
                <a:lnTo>
                  <a:pt x="1" y="3378219"/>
                </a:lnTo>
                <a:lnTo>
                  <a:pt x="71290" y="3378219"/>
                </a:lnTo>
                <a:lnTo>
                  <a:pt x="71290" y="3329007"/>
                </a:lnTo>
                <a:lnTo>
                  <a:pt x="71286" y="3329007"/>
                </a:lnTo>
                <a:lnTo>
                  <a:pt x="71286" y="3284557"/>
                </a:lnTo>
                <a:lnTo>
                  <a:pt x="71290" y="3284557"/>
                </a:lnTo>
                <a:lnTo>
                  <a:pt x="71290" y="3219469"/>
                </a:lnTo>
                <a:lnTo>
                  <a:pt x="71286" y="3219469"/>
                </a:lnTo>
                <a:lnTo>
                  <a:pt x="71286" y="3173431"/>
                </a:lnTo>
                <a:lnTo>
                  <a:pt x="71290" y="3173431"/>
                </a:lnTo>
                <a:lnTo>
                  <a:pt x="71290" y="3109931"/>
                </a:lnTo>
                <a:lnTo>
                  <a:pt x="71288" y="3109931"/>
                </a:lnTo>
                <a:lnTo>
                  <a:pt x="71288" y="3060718"/>
                </a:lnTo>
                <a:lnTo>
                  <a:pt x="71290" y="3060718"/>
                </a:lnTo>
                <a:lnTo>
                  <a:pt x="71290" y="2997218"/>
                </a:lnTo>
                <a:lnTo>
                  <a:pt x="71288" y="2997218"/>
                </a:lnTo>
                <a:lnTo>
                  <a:pt x="71288" y="2951180"/>
                </a:lnTo>
                <a:lnTo>
                  <a:pt x="71290" y="2951180"/>
                </a:lnTo>
                <a:lnTo>
                  <a:pt x="71290" y="2887680"/>
                </a:lnTo>
                <a:lnTo>
                  <a:pt x="71288" y="2887680"/>
                </a:lnTo>
                <a:lnTo>
                  <a:pt x="71288" y="2841642"/>
                </a:lnTo>
                <a:lnTo>
                  <a:pt x="71290" y="2841642"/>
                </a:lnTo>
                <a:lnTo>
                  <a:pt x="71290" y="2778142"/>
                </a:lnTo>
                <a:lnTo>
                  <a:pt x="71288" y="2778142"/>
                </a:lnTo>
                <a:lnTo>
                  <a:pt x="71288" y="2732104"/>
                </a:lnTo>
                <a:lnTo>
                  <a:pt x="71290" y="2732104"/>
                </a:lnTo>
                <a:lnTo>
                  <a:pt x="71290" y="2668604"/>
                </a:lnTo>
                <a:lnTo>
                  <a:pt x="71288" y="2668604"/>
                </a:lnTo>
                <a:lnTo>
                  <a:pt x="71288" y="2622566"/>
                </a:lnTo>
                <a:lnTo>
                  <a:pt x="71290" y="2622566"/>
                </a:lnTo>
                <a:lnTo>
                  <a:pt x="71290" y="2557478"/>
                </a:lnTo>
                <a:lnTo>
                  <a:pt x="71288" y="2557478"/>
                </a:lnTo>
                <a:lnTo>
                  <a:pt x="71288" y="2509853"/>
                </a:lnTo>
                <a:lnTo>
                  <a:pt x="71290" y="2509853"/>
                </a:lnTo>
                <a:lnTo>
                  <a:pt x="71290" y="2444765"/>
                </a:lnTo>
                <a:lnTo>
                  <a:pt x="71288" y="2444765"/>
                </a:lnTo>
                <a:lnTo>
                  <a:pt x="71288" y="2400315"/>
                </a:lnTo>
                <a:lnTo>
                  <a:pt x="71290" y="2400315"/>
                </a:lnTo>
                <a:lnTo>
                  <a:pt x="71290" y="2335228"/>
                </a:lnTo>
                <a:lnTo>
                  <a:pt x="71289" y="2335228"/>
                </a:lnTo>
                <a:lnTo>
                  <a:pt x="71289" y="2289190"/>
                </a:lnTo>
                <a:lnTo>
                  <a:pt x="71290" y="2289190"/>
                </a:lnTo>
                <a:lnTo>
                  <a:pt x="71290" y="2225690"/>
                </a:lnTo>
                <a:lnTo>
                  <a:pt x="71289" y="2225690"/>
                </a:lnTo>
                <a:lnTo>
                  <a:pt x="71289" y="2179652"/>
                </a:lnTo>
                <a:lnTo>
                  <a:pt x="71290" y="2179652"/>
                </a:lnTo>
                <a:lnTo>
                  <a:pt x="71290" y="2116152"/>
                </a:lnTo>
                <a:lnTo>
                  <a:pt x="71289" y="2116152"/>
                </a:lnTo>
                <a:lnTo>
                  <a:pt x="71289" y="2066939"/>
                </a:lnTo>
                <a:lnTo>
                  <a:pt x="71290" y="2066939"/>
                </a:lnTo>
                <a:lnTo>
                  <a:pt x="71290" y="2006614"/>
                </a:lnTo>
                <a:lnTo>
                  <a:pt x="71289" y="2006614"/>
                </a:lnTo>
                <a:lnTo>
                  <a:pt x="71289" y="1957401"/>
                </a:lnTo>
                <a:lnTo>
                  <a:pt x="71290" y="1957401"/>
                </a:lnTo>
                <a:lnTo>
                  <a:pt x="71290" y="1893901"/>
                </a:lnTo>
                <a:lnTo>
                  <a:pt x="71289" y="1893901"/>
                </a:lnTo>
                <a:lnTo>
                  <a:pt x="71289" y="1847863"/>
                </a:lnTo>
                <a:lnTo>
                  <a:pt x="71290" y="1847863"/>
                </a:lnTo>
                <a:lnTo>
                  <a:pt x="71290" y="1784363"/>
                </a:lnTo>
                <a:lnTo>
                  <a:pt x="71289" y="1784363"/>
                </a:lnTo>
                <a:lnTo>
                  <a:pt x="71289" y="1738325"/>
                </a:lnTo>
                <a:lnTo>
                  <a:pt x="71290" y="1738325"/>
                </a:lnTo>
                <a:lnTo>
                  <a:pt x="71290" y="1673237"/>
                </a:lnTo>
                <a:lnTo>
                  <a:pt x="71290" y="1628787"/>
                </a:lnTo>
                <a:lnTo>
                  <a:pt x="71290" y="1563699"/>
                </a:lnTo>
                <a:lnTo>
                  <a:pt x="71290" y="1516074"/>
                </a:lnTo>
                <a:lnTo>
                  <a:pt x="71290" y="1457336"/>
                </a:lnTo>
                <a:lnTo>
                  <a:pt x="116800" y="1457336"/>
                </a:lnTo>
                <a:lnTo>
                  <a:pt x="116800" y="1457335"/>
                </a:lnTo>
                <a:lnTo>
                  <a:pt x="116788" y="1457335"/>
                </a:lnTo>
                <a:cubicBezTo>
                  <a:pt x="116788" y="1457335"/>
                  <a:pt x="116788" y="1457335"/>
                  <a:pt x="116788" y="1146184"/>
                </a:cubicBezTo>
                <a:cubicBezTo>
                  <a:pt x="116788" y="1146184"/>
                  <a:pt x="116788" y="1146184"/>
                  <a:pt x="180490" y="1146184"/>
                </a:cubicBezTo>
                <a:lnTo>
                  <a:pt x="180485" y="1146199"/>
                </a:lnTo>
                <a:lnTo>
                  <a:pt x="180495" y="1146199"/>
                </a:lnTo>
                <a:lnTo>
                  <a:pt x="180505" y="1146199"/>
                </a:lnTo>
                <a:lnTo>
                  <a:pt x="180505" y="1139813"/>
                </a:lnTo>
                <a:lnTo>
                  <a:pt x="180494" y="1139835"/>
                </a:lnTo>
                <a:cubicBezTo>
                  <a:pt x="180494" y="1139835"/>
                  <a:pt x="180494" y="1139835"/>
                  <a:pt x="180494" y="1118481"/>
                </a:cubicBezTo>
                <a:cubicBezTo>
                  <a:pt x="180494" y="1118481"/>
                  <a:pt x="180494" y="1118481"/>
                  <a:pt x="180494" y="1115431"/>
                </a:cubicBezTo>
                <a:lnTo>
                  <a:pt x="183698" y="1102083"/>
                </a:lnTo>
                <a:lnTo>
                  <a:pt x="183735" y="1101892"/>
                </a:lnTo>
                <a:lnTo>
                  <a:pt x="190699" y="1065510"/>
                </a:lnTo>
                <a:lnTo>
                  <a:pt x="193421" y="1061317"/>
                </a:lnTo>
                <a:lnTo>
                  <a:pt x="193527" y="1061154"/>
                </a:lnTo>
                <a:lnTo>
                  <a:pt x="195144" y="1054421"/>
                </a:lnTo>
                <a:lnTo>
                  <a:pt x="195661" y="1053697"/>
                </a:lnTo>
                <a:lnTo>
                  <a:pt x="195661" y="1040362"/>
                </a:lnTo>
                <a:cubicBezTo>
                  <a:pt x="195661" y="1037295"/>
                  <a:pt x="195661" y="1037295"/>
                  <a:pt x="195661" y="1037295"/>
                </a:cubicBezTo>
                <a:lnTo>
                  <a:pt x="196983" y="1032662"/>
                </a:lnTo>
                <a:lnTo>
                  <a:pt x="204834" y="992604"/>
                </a:lnTo>
                <a:lnTo>
                  <a:pt x="211157" y="982990"/>
                </a:lnTo>
                <a:lnTo>
                  <a:pt x="213162" y="975960"/>
                </a:lnTo>
                <a:lnTo>
                  <a:pt x="213862" y="975264"/>
                </a:lnTo>
                <a:lnTo>
                  <a:pt x="213862" y="975164"/>
                </a:lnTo>
                <a:cubicBezTo>
                  <a:pt x="213862" y="974007"/>
                  <a:pt x="213862" y="971692"/>
                  <a:pt x="213862" y="967061"/>
                </a:cubicBezTo>
                <a:cubicBezTo>
                  <a:pt x="213862" y="967061"/>
                  <a:pt x="213862" y="967061"/>
                  <a:pt x="213862" y="963975"/>
                </a:cubicBezTo>
                <a:lnTo>
                  <a:pt x="214150" y="962627"/>
                </a:lnTo>
                <a:lnTo>
                  <a:pt x="220146" y="933742"/>
                </a:lnTo>
                <a:lnTo>
                  <a:pt x="221479" y="926931"/>
                </a:lnTo>
                <a:lnTo>
                  <a:pt x="221598" y="926747"/>
                </a:lnTo>
                <a:lnTo>
                  <a:pt x="222199" y="923859"/>
                </a:lnTo>
                <a:lnTo>
                  <a:pt x="230391" y="913117"/>
                </a:lnTo>
                <a:lnTo>
                  <a:pt x="242125" y="894927"/>
                </a:lnTo>
                <a:lnTo>
                  <a:pt x="244967" y="892898"/>
                </a:lnTo>
                <a:lnTo>
                  <a:pt x="245678" y="892390"/>
                </a:lnTo>
                <a:lnTo>
                  <a:pt x="248089" y="882300"/>
                </a:lnTo>
                <a:lnTo>
                  <a:pt x="251820" y="864284"/>
                </a:lnTo>
                <a:cubicBezTo>
                  <a:pt x="253857" y="854455"/>
                  <a:pt x="256571" y="841349"/>
                  <a:pt x="260190" y="823875"/>
                </a:cubicBezTo>
                <a:cubicBezTo>
                  <a:pt x="260190" y="823875"/>
                  <a:pt x="260190" y="823875"/>
                  <a:pt x="268877" y="787408"/>
                </a:cubicBezTo>
                <a:lnTo>
                  <a:pt x="269072" y="787408"/>
                </a:lnTo>
                <a:lnTo>
                  <a:pt x="269066" y="787405"/>
                </a:lnTo>
                <a:lnTo>
                  <a:pt x="269055" y="787405"/>
                </a:lnTo>
                <a:lnTo>
                  <a:pt x="259562" y="783048"/>
                </a:lnTo>
                <a:lnTo>
                  <a:pt x="256115" y="781467"/>
                </a:lnTo>
                <a:lnTo>
                  <a:pt x="256113" y="781464"/>
                </a:lnTo>
                <a:lnTo>
                  <a:pt x="256086" y="781452"/>
                </a:lnTo>
                <a:cubicBezTo>
                  <a:pt x="253204" y="777880"/>
                  <a:pt x="251763" y="773117"/>
                  <a:pt x="251763" y="768355"/>
                </a:cubicBezTo>
                <a:cubicBezTo>
                  <a:pt x="251763" y="758830"/>
                  <a:pt x="257527" y="752480"/>
                  <a:pt x="269055" y="752480"/>
                </a:cubicBezTo>
                <a:cubicBezTo>
                  <a:pt x="269055" y="752480"/>
                  <a:pt x="269055" y="752480"/>
                  <a:pt x="286075" y="752480"/>
                </a:cubicBezTo>
                <a:lnTo>
                  <a:pt x="289224" y="752480"/>
                </a:lnTo>
                <a:lnTo>
                  <a:pt x="308964" y="395717"/>
                </a:lnTo>
                <a:close/>
                <a:moveTo>
                  <a:pt x="3920684" y="0"/>
                </a:moveTo>
                <a:cubicBezTo>
                  <a:pt x="3926751" y="0"/>
                  <a:pt x="3932819" y="3050"/>
                  <a:pt x="3932819" y="9150"/>
                </a:cubicBezTo>
                <a:lnTo>
                  <a:pt x="3932819" y="92075"/>
                </a:lnTo>
                <a:lnTo>
                  <a:pt x="3955569" y="92075"/>
                </a:lnTo>
                <a:lnTo>
                  <a:pt x="3955569" y="109538"/>
                </a:lnTo>
                <a:lnTo>
                  <a:pt x="3932819" y="109538"/>
                </a:lnTo>
                <a:lnTo>
                  <a:pt x="3932819" y="184711"/>
                </a:lnTo>
                <a:lnTo>
                  <a:pt x="3932819" y="265113"/>
                </a:lnTo>
                <a:lnTo>
                  <a:pt x="3955569" y="265113"/>
                </a:lnTo>
                <a:lnTo>
                  <a:pt x="3955569" y="287338"/>
                </a:lnTo>
                <a:lnTo>
                  <a:pt x="3932819" y="287338"/>
                </a:lnTo>
                <a:lnTo>
                  <a:pt x="3932819" y="342566"/>
                </a:lnTo>
                <a:lnTo>
                  <a:pt x="3932819" y="439739"/>
                </a:lnTo>
                <a:lnTo>
                  <a:pt x="3955569" y="439739"/>
                </a:lnTo>
                <a:lnTo>
                  <a:pt x="3955569" y="460377"/>
                </a:lnTo>
                <a:lnTo>
                  <a:pt x="3932819" y="460377"/>
                </a:lnTo>
                <a:lnTo>
                  <a:pt x="3932819" y="483658"/>
                </a:lnTo>
                <a:cubicBezTo>
                  <a:pt x="3932819" y="527999"/>
                  <a:pt x="3932819" y="569704"/>
                  <a:pt x="3932819" y="608927"/>
                </a:cubicBezTo>
                <a:lnTo>
                  <a:pt x="3932819" y="612777"/>
                </a:lnTo>
                <a:lnTo>
                  <a:pt x="3955569" y="612777"/>
                </a:lnTo>
                <a:lnTo>
                  <a:pt x="3955569" y="633415"/>
                </a:lnTo>
                <a:lnTo>
                  <a:pt x="3932819" y="633415"/>
                </a:lnTo>
                <a:lnTo>
                  <a:pt x="3932819" y="752966"/>
                </a:lnTo>
                <a:lnTo>
                  <a:pt x="3932819" y="768352"/>
                </a:lnTo>
                <a:lnTo>
                  <a:pt x="4011689" y="768352"/>
                </a:lnTo>
                <a:lnTo>
                  <a:pt x="4011689" y="817565"/>
                </a:lnTo>
                <a:lnTo>
                  <a:pt x="3968764" y="817565"/>
                </a:lnTo>
                <a:lnTo>
                  <a:pt x="4090560" y="1006478"/>
                </a:lnTo>
                <a:lnTo>
                  <a:pt x="4142131" y="1006478"/>
                </a:lnTo>
                <a:lnTo>
                  <a:pt x="4142131" y="1033465"/>
                </a:lnTo>
                <a:lnTo>
                  <a:pt x="4142131" y="1033466"/>
                </a:lnTo>
                <a:lnTo>
                  <a:pt x="4142131" y="1125540"/>
                </a:lnTo>
                <a:lnTo>
                  <a:pt x="4205835" y="1125540"/>
                </a:lnTo>
                <a:lnTo>
                  <a:pt x="4205835" y="1152528"/>
                </a:lnTo>
                <a:lnTo>
                  <a:pt x="4205835" y="1208091"/>
                </a:lnTo>
                <a:lnTo>
                  <a:pt x="4205835" y="1222379"/>
                </a:lnTo>
                <a:lnTo>
                  <a:pt x="4205835" y="1292228"/>
                </a:lnTo>
                <a:lnTo>
                  <a:pt x="4205835" y="1308103"/>
                </a:lnTo>
                <a:lnTo>
                  <a:pt x="4205835" y="1377953"/>
                </a:lnTo>
                <a:lnTo>
                  <a:pt x="4205835" y="1393828"/>
                </a:lnTo>
                <a:lnTo>
                  <a:pt x="4205835" y="1463679"/>
                </a:lnTo>
                <a:lnTo>
                  <a:pt x="4205835" y="1479554"/>
                </a:lnTo>
                <a:lnTo>
                  <a:pt x="4205835" y="1549404"/>
                </a:lnTo>
                <a:lnTo>
                  <a:pt x="4205835" y="1563692"/>
                </a:lnTo>
                <a:lnTo>
                  <a:pt x="4205835" y="1633542"/>
                </a:lnTo>
                <a:lnTo>
                  <a:pt x="4205835" y="1649417"/>
                </a:lnTo>
                <a:lnTo>
                  <a:pt x="4205835" y="1719267"/>
                </a:lnTo>
                <a:lnTo>
                  <a:pt x="4205835" y="1735142"/>
                </a:lnTo>
                <a:lnTo>
                  <a:pt x="4205835" y="1804992"/>
                </a:lnTo>
                <a:lnTo>
                  <a:pt x="4205835" y="1820867"/>
                </a:lnTo>
                <a:lnTo>
                  <a:pt x="4205835" y="1890717"/>
                </a:lnTo>
                <a:lnTo>
                  <a:pt x="4205835" y="1905005"/>
                </a:lnTo>
                <a:lnTo>
                  <a:pt x="4205835" y="1976442"/>
                </a:lnTo>
                <a:lnTo>
                  <a:pt x="4205835" y="1990730"/>
                </a:lnTo>
                <a:lnTo>
                  <a:pt x="4205835" y="2060580"/>
                </a:lnTo>
                <a:lnTo>
                  <a:pt x="4205835" y="2076455"/>
                </a:lnTo>
                <a:lnTo>
                  <a:pt x="4205835" y="2146305"/>
                </a:lnTo>
                <a:lnTo>
                  <a:pt x="4205835" y="2162180"/>
                </a:lnTo>
                <a:lnTo>
                  <a:pt x="4205835" y="2232031"/>
                </a:lnTo>
                <a:lnTo>
                  <a:pt x="4205835" y="2247906"/>
                </a:lnTo>
                <a:lnTo>
                  <a:pt x="4205835" y="2317756"/>
                </a:lnTo>
                <a:lnTo>
                  <a:pt x="4205835" y="2332044"/>
                </a:lnTo>
                <a:lnTo>
                  <a:pt x="4205835" y="2401894"/>
                </a:lnTo>
                <a:lnTo>
                  <a:pt x="4205835" y="2417769"/>
                </a:lnTo>
                <a:lnTo>
                  <a:pt x="4205835" y="2487619"/>
                </a:lnTo>
                <a:lnTo>
                  <a:pt x="4205835" y="2503494"/>
                </a:lnTo>
                <a:lnTo>
                  <a:pt x="4205835" y="2573344"/>
                </a:lnTo>
                <a:lnTo>
                  <a:pt x="4205835" y="2589219"/>
                </a:lnTo>
                <a:lnTo>
                  <a:pt x="4205835" y="2659069"/>
                </a:lnTo>
                <a:lnTo>
                  <a:pt x="4205835" y="2673357"/>
                </a:lnTo>
                <a:lnTo>
                  <a:pt x="4205835" y="2744794"/>
                </a:lnTo>
                <a:lnTo>
                  <a:pt x="4205835" y="2759082"/>
                </a:lnTo>
                <a:lnTo>
                  <a:pt x="4205835" y="2828932"/>
                </a:lnTo>
                <a:lnTo>
                  <a:pt x="4205835" y="2844807"/>
                </a:lnTo>
                <a:lnTo>
                  <a:pt x="4205835" y="2914657"/>
                </a:lnTo>
                <a:lnTo>
                  <a:pt x="4205835" y="2930532"/>
                </a:lnTo>
                <a:lnTo>
                  <a:pt x="4205835" y="3000383"/>
                </a:lnTo>
                <a:lnTo>
                  <a:pt x="4205835" y="3016258"/>
                </a:lnTo>
                <a:lnTo>
                  <a:pt x="4205835" y="3086108"/>
                </a:lnTo>
                <a:lnTo>
                  <a:pt x="4205835" y="3100396"/>
                </a:lnTo>
                <a:lnTo>
                  <a:pt x="4205835" y="3171833"/>
                </a:lnTo>
                <a:lnTo>
                  <a:pt x="4205835" y="3186121"/>
                </a:lnTo>
                <a:lnTo>
                  <a:pt x="4205835" y="3255971"/>
                </a:lnTo>
                <a:lnTo>
                  <a:pt x="4205835" y="3271846"/>
                </a:lnTo>
                <a:lnTo>
                  <a:pt x="4205835" y="3341696"/>
                </a:lnTo>
                <a:lnTo>
                  <a:pt x="4205835" y="3357571"/>
                </a:lnTo>
                <a:lnTo>
                  <a:pt x="4205835" y="3405398"/>
                </a:lnTo>
                <a:lnTo>
                  <a:pt x="4205903" y="3405261"/>
                </a:lnTo>
                <a:lnTo>
                  <a:pt x="4205903" y="3400447"/>
                </a:lnTo>
                <a:lnTo>
                  <a:pt x="4281741" y="3252809"/>
                </a:lnTo>
                <a:lnTo>
                  <a:pt x="4281742" y="3252809"/>
                </a:lnTo>
                <a:lnTo>
                  <a:pt x="4346963" y="3252809"/>
                </a:lnTo>
                <a:lnTo>
                  <a:pt x="4346963" y="2241568"/>
                </a:lnTo>
                <a:lnTo>
                  <a:pt x="4404600" y="2241568"/>
                </a:lnTo>
                <a:lnTo>
                  <a:pt x="4404600" y="2241567"/>
                </a:lnTo>
                <a:lnTo>
                  <a:pt x="4404600" y="1805003"/>
                </a:lnTo>
                <a:lnTo>
                  <a:pt x="4404600" y="1517664"/>
                </a:lnTo>
                <a:lnTo>
                  <a:pt x="4433419" y="1447814"/>
                </a:lnTo>
                <a:lnTo>
                  <a:pt x="4462237" y="1517664"/>
                </a:lnTo>
                <a:lnTo>
                  <a:pt x="4600263" y="1331926"/>
                </a:lnTo>
                <a:lnTo>
                  <a:pt x="4600263" y="1331927"/>
                </a:lnTo>
                <a:lnTo>
                  <a:pt x="4600264" y="1331926"/>
                </a:lnTo>
                <a:lnTo>
                  <a:pt x="4736773" y="1517664"/>
                </a:lnTo>
                <a:lnTo>
                  <a:pt x="4739807" y="1517664"/>
                </a:lnTo>
                <a:lnTo>
                  <a:pt x="4768624" y="1447814"/>
                </a:lnTo>
                <a:lnTo>
                  <a:pt x="4797443" y="1517664"/>
                </a:lnTo>
                <a:lnTo>
                  <a:pt x="4797443" y="1805003"/>
                </a:lnTo>
                <a:lnTo>
                  <a:pt x="4797443" y="2241568"/>
                </a:lnTo>
                <a:lnTo>
                  <a:pt x="4856598" y="2241568"/>
                </a:lnTo>
                <a:lnTo>
                  <a:pt x="4856598" y="3252809"/>
                </a:lnTo>
                <a:lnTo>
                  <a:pt x="4920302" y="3252809"/>
                </a:lnTo>
                <a:lnTo>
                  <a:pt x="4945993" y="3304454"/>
                </a:lnTo>
                <a:lnTo>
                  <a:pt x="4945993" y="2549527"/>
                </a:lnTo>
                <a:lnTo>
                  <a:pt x="4946007" y="2549527"/>
                </a:lnTo>
                <a:lnTo>
                  <a:pt x="4946007" y="2476537"/>
                </a:lnTo>
                <a:lnTo>
                  <a:pt x="4978400" y="2476537"/>
                </a:lnTo>
                <a:lnTo>
                  <a:pt x="4978400" y="3498630"/>
                </a:lnTo>
                <a:lnTo>
                  <a:pt x="1518261" y="3498630"/>
                </a:lnTo>
                <a:lnTo>
                  <a:pt x="1518261" y="2320927"/>
                </a:lnTo>
                <a:lnTo>
                  <a:pt x="1534937" y="2320927"/>
                </a:lnTo>
                <a:lnTo>
                  <a:pt x="1572854" y="2320927"/>
                </a:lnTo>
                <a:lnTo>
                  <a:pt x="1572854" y="2009777"/>
                </a:lnTo>
                <a:lnTo>
                  <a:pt x="1654785" y="2009777"/>
                </a:lnTo>
                <a:lnTo>
                  <a:pt x="1654785" y="1744664"/>
                </a:lnTo>
                <a:lnTo>
                  <a:pt x="1679064" y="1744664"/>
                </a:lnTo>
                <a:lnTo>
                  <a:pt x="1679064" y="1609727"/>
                </a:lnTo>
                <a:lnTo>
                  <a:pt x="1730647" y="1609727"/>
                </a:lnTo>
                <a:lnTo>
                  <a:pt x="1730647" y="1512889"/>
                </a:lnTo>
                <a:lnTo>
                  <a:pt x="1783722" y="1512889"/>
                </a:lnTo>
                <a:lnTo>
                  <a:pt x="1783722" y="1470027"/>
                </a:lnTo>
                <a:lnTo>
                  <a:pt x="1853494" y="1470027"/>
                </a:lnTo>
                <a:lnTo>
                  <a:pt x="1862067" y="1255714"/>
                </a:lnTo>
                <a:lnTo>
                  <a:pt x="1861833" y="1255714"/>
                </a:lnTo>
                <a:lnTo>
                  <a:pt x="1861100" y="1255714"/>
                </a:lnTo>
                <a:lnTo>
                  <a:pt x="1860734" y="1255714"/>
                </a:lnTo>
                <a:lnTo>
                  <a:pt x="1854033" y="1255714"/>
                </a:lnTo>
                <a:lnTo>
                  <a:pt x="1853024" y="1255714"/>
                </a:lnTo>
                <a:cubicBezTo>
                  <a:pt x="1848611" y="1255714"/>
                  <a:pt x="1844938" y="1254215"/>
                  <a:pt x="1842366" y="1251966"/>
                </a:cubicBezTo>
                <a:cubicBezTo>
                  <a:pt x="1839777" y="1249717"/>
                  <a:pt x="1838312" y="1246718"/>
                  <a:pt x="1838312" y="1243719"/>
                </a:cubicBezTo>
                <a:cubicBezTo>
                  <a:pt x="1838312" y="1234723"/>
                  <a:pt x="1844201" y="1228726"/>
                  <a:pt x="1853024" y="1228726"/>
                </a:cubicBezTo>
                <a:lnTo>
                  <a:pt x="1854126" y="1228726"/>
                </a:lnTo>
                <a:lnTo>
                  <a:pt x="1861833" y="1228726"/>
                </a:lnTo>
                <a:lnTo>
                  <a:pt x="1861861" y="1228726"/>
                </a:lnTo>
                <a:lnTo>
                  <a:pt x="1862593" y="1228726"/>
                </a:lnTo>
                <a:lnTo>
                  <a:pt x="1875834" y="908437"/>
                </a:lnTo>
                <a:lnTo>
                  <a:pt x="1875367" y="919100"/>
                </a:lnTo>
                <a:lnTo>
                  <a:pt x="1875834" y="908436"/>
                </a:lnTo>
                <a:lnTo>
                  <a:pt x="1875834" y="908390"/>
                </a:lnTo>
                <a:lnTo>
                  <a:pt x="1876120" y="901486"/>
                </a:lnTo>
                <a:lnTo>
                  <a:pt x="1879253" y="825721"/>
                </a:lnTo>
                <a:lnTo>
                  <a:pt x="1879260" y="825501"/>
                </a:lnTo>
                <a:lnTo>
                  <a:pt x="1879263" y="825501"/>
                </a:lnTo>
                <a:lnTo>
                  <a:pt x="1879450" y="825501"/>
                </a:lnTo>
                <a:lnTo>
                  <a:pt x="1880185" y="825501"/>
                </a:lnTo>
                <a:lnTo>
                  <a:pt x="1884588" y="825501"/>
                </a:lnTo>
                <a:lnTo>
                  <a:pt x="1885322" y="825501"/>
                </a:lnTo>
                <a:lnTo>
                  <a:pt x="1891384" y="825501"/>
                </a:lnTo>
                <a:lnTo>
                  <a:pt x="1907438" y="1228726"/>
                </a:lnTo>
                <a:lnTo>
                  <a:pt x="1909482" y="1228726"/>
                </a:lnTo>
                <a:cubicBezTo>
                  <a:pt x="1917569" y="1228726"/>
                  <a:pt x="1917569" y="1228726"/>
                  <a:pt x="1917569" y="1228726"/>
                </a:cubicBezTo>
                <a:cubicBezTo>
                  <a:pt x="1926389" y="1228726"/>
                  <a:pt x="1932269" y="1234723"/>
                  <a:pt x="1932269" y="1243719"/>
                </a:cubicBezTo>
                <a:cubicBezTo>
                  <a:pt x="1932269" y="1249717"/>
                  <a:pt x="1926389" y="1255714"/>
                  <a:pt x="1917569" y="1255714"/>
                </a:cubicBezTo>
                <a:lnTo>
                  <a:pt x="1908516" y="1255714"/>
                </a:lnTo>
                <a:lnTo>
                  <a:pt x="1917094" y="1470027"/>
                </a:lnTo>
                <a:lnTo>
                  <a:pt x="1986878" y="1470027"/>
                </a:lnTo>
                <a:lnTo>
                  <a:pt x="1986878" y="1512889"/>
                </a:lnTo>
                <a:lnTo>
                  <a:pt x="2039921" y="1512889"/>
                </a:lnTo>
                <a:lnTo>
                  <a:pt x="2039921" y="1609727"/>
                </a:lnTo>
                <a:lnTo>
                  <a:pt x="2091541" y="1609727"/>
                </a:lnTo>
                <a:lnTo>
                  <a:pt x="2091541" y="1744664"/>
                </a:lnTo>
                <a:lnTo>
                  <a:pt x="2115862" y="1744664"/>
                </a:lnTo>
                <a:lnTo>
                  <a:pt x="2115862" y="2009777"/>
                </a:lnTo>
                <a:lnTo>
                  <a:pt x="2196157" y="2009777"/>
                </a:lnTo>
                <a:lnTo>
                  <a:pt x="2196157" y="2320927"/>
                </a:lnTo>
                <a:lnTo>
                  <a:pt x="2252293" y="2320927"/>
                </a:lnTo>
                <a:lnTo>
                  <a:pt x="2252293" y="3479809"/>
                </a:lnTo>
                <a:lnTo>
                  <a:pt x="2254706" y="3479809"/>
                </a:lnTo>
                <a:lnTo>
                  <a:pt x="2254708" y="3479809"/>
                </a:lnTo>
                <a:lnTo>
                  <a:pt x="2257622" y="3479809"/>
                </a:lnTo>
                <a:lnTo>
                  <a:pt x="2278021" y="3479809"/>
                </a:lnTo>
                <a:lnTo>
                  <a:pt x="2278058" y="3479809"/>
                </a:lnTo>
                <a:lnTo>
                  <a:pt x="2278058" y="3421072"/>
                </a:lnTo>
                <a:lnTo>
                  <a:pt x="2258341" y="3421072"/>
                </a:lnTo>
                <a:lnTo>
                  <a:pt x="2258340" y="3421072"/>
                </a:lnTo>
                <a:lnTo>
                  <a:pt x="2258340" y="3368684"/>
                </a:lnTo>
                <a:lnTo>
                  <a:pt x="2258341" y="3368684"/>
                </a:lnTo>
                <a:lnTo>
                  <a:pt x="2278058" y="3368684"/>
                </a:lnTo>
                <a:lnTo>
                  <a:pt x="2278058" y="3308359"/>
                </a:lnTo>
                <a:lnTo>
                  <a:pt x="2278060" y="3308359"/>
                </a:lnTo>
                <a:lnTo>
                  <a:pt x="2337216" y="3308359"/>
                </a:lnTo>
                <a:lnTo>
                  <a:pt x="2337216" y="3308358"/>
                </a:lnTo>
                <a:lnTo>
                  <a:pt x="2337216" y="2692407"/>
                </a:lnTo>
                <a:lnTo>
                  <a:pt x="2337356" y="2692242"/>
                </a:lnTo>
                <a:lnTo>
                  <a:pt x="2389040" y="2631092"/>
                </a:lnTo>
                <a:lnTo>
                  <a:pt x="2389040" y="2576969"/>
                </a:lnTo>
                <a:cubicBezTo>
                  <a:pt x="2389040" y="2495503"/>
                  <a:pt x="2389040" y="2432996"/>
                  <a:pt x="2389040" y="2408690"/>
                </a:cubicBezTo>
                <a:lnTo>
                  <a:pt x="2386281" y="2342726"/>
                </a:lnTo>
                <a:lnTo>
                  <a:pt x="2377814" y="2293532"/>
                </a:lnTo>
                <a:cubicBezTo>
                  <a:pt x="2370180" y="2264142"/>
                  <a:pt x="2358545" y="2239714"/>
                  <a:pt x="2342547" y="2207653"/>
                </a:cubicBezTo>
                <a:cubicBezTo>
                  <a:pt x="2310553" y="2140478"/>
                  <a:pt x="2290194" y="2079409"/>
                  <a:pt x="2290194" y="2079409"/>
                </a:cubicBezTo>
                <a:cubicBezTo>
                  <a:pt x="2290194" y="2079409"/>
                  <a:pt x="2290194" y="2079409"/>
                  <a:pt x="2290194" y="2076355"/>
                </a:cubicBezTo>
                <a:cubicBezTo>
                  <a:pt x="2290194" y="2076355"/>
                  <a:pt x="2290194" y="2073302"/>
                  <a:pt x="2290194" y="2073302"/>
                </a:cubicBezTo>
                <a:lnTo>
                  <a:pt x="2295810" y="2040096"/>
                </a:lnTo>
                <a:lnTo>
                  <a:pt x="2296111" y="2037996"/>
                </a:lnTo>
                <a:lnTo>
                  <a:pt x="2296209" y="2037746"/>
                </a:lnTo>
                <a:lnTo>
                  <a:pt x="2297101" y="2032462"/>
                </a:lnTo>
                <a:lnTo>
                  <a:pt x="2304448" y="2016416"/>
                </a:lnTo>
                <a:lnTo>
                  <a:pt x="2308094" y="2006976"/>
                </a:lnTo>
                <a:lnTo>
                  <a:pt x="2309780" y="2004623"/>
                </a:lnTo>
                <a:lnTo>
                  <a:pt x="2308588" y="1996598"/>
                </a:lnTo>
                <a:cubicBezTo>
                  <a:pt x="2301690" y="1945484"/>
                  <a:pt x="2293834" y="1866558"/>
                  <a:pt x="2293402" y="1770156"/>
                </a:cubicBezTo>
                <a:lnTo>
                  <a:pt x="2295353" y="1685846"/>
                </a:lnTo>
                <a:lnTo>
                  <a:pt x="2280891" y="1679815"/>
                </a:lnTo>
                <a:cubicBezTo>
                  <a:pt x="2277224" y="1675993"/>
                  <a:pt x="2275026" y="1670643"/>
                  <a:pt x="2275026" y="1664528"/>
                </a:cubicBezTo>
                <a:cubicBezTo>
                  <a:pt x="2275026" y="1664528"/>
                  <a:pt x="2275026" y="1664528"/>
                  <a:pt x="2275026" y="1627839"/>
                </a:cubicBezTo>
                <a:lnTo>
                  <a:pt x="2275049" y="1627781"/>
                </a:lnTo>
                <a:lnTo>
                  <a:pt x="2281257" y="1611024"/>
                </a:lnTo>
                <a:lnTo>
                  <a:pt x="2294829" y="1605002"/>
                </a:lnTo>
                <a:lnTo>
                  <a:pt x="2293101" y="1555755"/>
                </a:lnTo>
                <a:lnTo>
                  <a:pt x="2249241" y="1555755"/>
                </a:lnTo>
                <a:lnTo>
                  <a:pt x="2249241" y="1497017"/>
                </a:lnTo>
                <a:lnTo>
                  <a:pt x="2291031" y="1497017"/>
                </a:lnTo>
                <a:lnTo>
                  <a:pt x="2290195" y="1473208"/>
                </a:lnTo>
                <a:lnTo>
                  <a:pt x="2290194" y="1473205"/>
                </a:lnTo>
                <a:lnTo>
                  <a:pt x="2289856" y="1473205"/>
                </a:lnTo>
                <a:lnTo>
                  <a:pt x="2289436" y="1473205"/>
                </a:lnTo>
                <a:cubicBezTo>
                  <a:pt x="2289436" y="1473205"/>
                  <a:pt x="2284318" y="1467067"/>
                  <a:pt x="2281756" y="1457092"/>
                </a:cubicBezTo>
                <a:lnTo>
                  <a:pt x="2281140" y="1445789"/>
                </a:lnTo>
                <a:lnTo>
                  <a:pt x="2281094" y="1445582"/>
                </a:lnTo>
                <a:lnTo>
                  <a:pt x="2281123" y="1445489"/>
                </a:lnTo>
                <a:lnTo>
                  <a:pt x="2280799" y="1439540"/>
                </a:lnTo>
                <a:cubicBezTo>
                  <a:pt x="2281756" y="1432922"/>
                  <a:pt x="2284318" y="1425633"/>
                  <a:pt x="2289436" y="1417960"/>
                </a:cubicBezTo>
                <a:lnTo>
                  <a:pt x="2317283" y="1378631"/>
                </a:lnTo>
                <a:lnTo>
                  <a:pt x="2318345" y="1375174"/>
                </a:lnTo>
                <a:lnTo>
                  <a:pt x="2324540" y="1335092"/>
                </a:lnTo>
                <a:lnTo>
                  <a:pt x="2325271" y="1336222"/>
                </a:lnTo>
                <a:lnTo>
                  <a:pt x="2324912" y="1335092"/>
                </a:lnTo>
                <a:cubicBezTo>
                  <a:pt x="2324912" y="1335092"/>
                  <a:pt x="2359968" y="1381130"/>
                  <a:pt x="2359968" y="1424098"/>
                </a:cubicBezTo>
                <a:cubicBezTo>
                  <a:pt x="2359968" y="1433306"/>
                  <a:pt x="2358509" y="1442513"/>
                  <a:pt x="2354857" y="1450953"/>
                </a:cubicBezTo>
                <a:lnTo>
                  <a:pt x="2352158" y="1454243"/>
                </a:lnTo>
                <a:lnTo>
                  <a:pt x="2351697" y="1455815"/>
                </a:lnTo>
                <a:lnTo>
                  <a:pt x="2340894" y="1467969"/>
                </a:lnTo>
                <a:lnTo>
                  <a:pt x="2336597" y="1473205"/>
                </a:lnTo>
                <a:lnTo>
                  <a:pt x="2337216" y="1473205"/>
                </a:lnTo>
                <a:lnTo>
                  <a:pt x="2336377" y="1497017"/>
                </a:lnTo>
                <a:lnTo>
                  <a:pt x="2376652" y="1497017"/>
                </a:lnTo>
                <a:lnTo>
                  <a:pt x="2376654" y="1497017"/>
                </a:lnTo>
                <a:lnTo>
                  <a:pt x="2376654" y="1555755"/>
                </a:lnTo>
                <a:lnTo>
                  <a:pt x="2376652" y="1555755"/>
                </a:lnTo>
                <a:lnTo>
                  <a:pt x="2334311" y="1555755"/>
                </a:lnTo>
                <a:lnTo>
                  <a:pt x="2332190" y="1616080"/>
                </a:lnTo>
                <a:lnTo>
                  <a:pt x="2333423" y="1616080"/>
                </a:lnTo>
                <a:cubicBezTo>
                  <a:pt x="2338985" y="1616080"/>
                  <a:pt x="2341767" y="1619079"/>
                  <a:pt x="2341767" y="1625076"/>
                </a:cubicBezTo>
                <a:lnTo>
                  <a:pt x="2341767" y="1628780"/>
                </a:lnTo>
                <a:lnTo>
                  <a:pt x="2342272" y="1628780"/>
                </a:lnTo>
                <a:lnTo>
                  <a:pt x="2342272" y="1633667"/>
                </a:lnTo>
                <a:lnTo>
                  <a:pt x="2342390" y="1633543"/>
                </a:lnTo>
                <a:cubicBezTo>
                  <a:pt x="2342390" y="1645744"/>
                  <a:pt x="2342390" y="1670146"/>
                  <a:pt x="2342390" y="1676247"/>
                </a:cubicBezTo>
                <a:lnTo>
                  <a:pt x="2342272" y="1676440"/>
                </a:lnTo>
                <a:lnTo>
                  <a:pt x="2342272" y="1677434"/>
                </a:lnTo>
                <a:cubicBezTo>
                  <a:pt x="2342272" y="1680474"/>
                  <a:pt x="2339366" y="1683515"/>
                  <a:pt x="2336458" y="1686936"/>
                </a:cubicBezTo>
                <a:lnTo>
                  <a:pt x="2330827" y="1698345"/>
                </a:lnTo>
                <a:lnTo>
                  <a:pt x="2331244" y="1706822"/>
                </a:lnTo>
                <a:lnTo>
                  <a:pt x="2335350" y="1762226"/>
                </a:lnTo>
                <a:lnTo>
                  <a:pt x="2340688" y="1799441"/>
                </a:lnTo>
                <a:lnTo>
                  <a:pt x="2348788" y="1836677"/>
                </a:lnTo>
                <a:lnTo>
                  <a:pt x="2357705" y="1874753"/>
                </a:lnTo>
                <a:cubicBezTo>
                  <a:pt x="2364502" y="1899298"/>
                  <a:pt x="2372838" y="1925606"/>
                  <a:pt x="2382986" y="1953821"/>
                </a:cubicBezTo>
                <a:lnTo>
                  <a:pt x="2383303" y="1954985"/>
                </a:lnTo>
                <a:lnTo>
                  <a:pt x="2383470" y="1954962"/>
                </a:lnTo>
                <a:lnTo>
                  <a:pt x="2383267" y="1954218"/>
                </a:lnTo>
                <a:lnTo>
                  <a:pt x="2389040" y="1954218"/>
                </a:lnTo>
                <a:lnTo>
                  <a:pt x="2389085" y="1954218"/>
                </a:lnTo>
                <a:cubicBezTo>
                  <a:pt x="2389085" y="1954218"/>
                  <a:pt x="2391992" y="1954218"/>
                  <a:pt x="2391992" y="1954218"/>
                </a:cubicBezTo>
                <a:lnTo>
                  <a:pt x="2396382" y="1968045"/>
                </a:lnTo>
                <a:lnTo>
                  <a:pt x="2398795" y="1972589"/>
                </a:lnTo>
                <a:lnTo>
                  <a:pt x="2401916" y="1972301"/>
                </a:lnTo>
                <a:cubicBezTo>
                  <a:pt x="2403928" y="1972115"/>
                  <a:pt x="2406948" y="1971836"/>
                  <a:pt x="2411481" y="1971417"/>
                </a:cubicBezTo>
                <a:lnTo>
                  <a:pt x="2423348" y="1970320"/>
                </a:lnTo>
                <a:lnTo>
                  <a:pt x="2476759" y="1963743"/>
                </a:lnTo>
                <a:lnTo>
                  <a:pt x="2476759" y="1963356"/>
                </a:lnTo>
                <a:lnTo>
                  <a:pt x="2477705" y="1963356"/>
                </a:lnTo>
                <a:lnTo>
                  <a:pt x="2481759" y="1948003"/>
                </a:lnTo>
                <a:lnTo>
                  <a:pt x="2482256" y="1944373"/>
                </a:lnTo>
                <a:lnTo>
                  <a:pt x="2391847" y="1893907"/>
                </a:lnTo>
                <a:lnTo>
                  <a:pt x="2391820" y="1893893"/>
                </a:lnTo>
                <a:lnTo>
                  <a:pt x="2391824" y="1893894"/>
                </a:lnTo>
                <a:lnTo>
                  <a:pt x="2391822" y="1893893"/>
                </a:lnTo>
                <a:lnTo>
                  <a:pt x="2494668" y="1923722"/>
                </a:lnTo>
                <a:lnTo>
                  <a:pt x="2501480" y="1918984"/>
                </a:lnTo>
                <a:lnTo>
                  <a:pt x="2504746" y="1915281"/>
                </a:lnTo>
                <a:lnTo>
                  <a:pt x="2511442" y="1911832"/>
                </a:lnTo>
                <a:lnTo>
                  <a:pt x="2439445" y="1832643"/>
                </a:lnTo>
                <a:lnTo>
                  <a:pt x="2438841" y="1831981"/>
                </a:lnTo>
                <a:lnTo>
                  <a:pt x="2438846" y="1831984"/>
                </a:lnTo>
                <a:lnTo>
                  <a:pt x="2438843" y="1831981"/>
                </a:lnTo>
                <a:lnTo>
                  <a:pt x="2439121" y="1832178"/>
                </a:lnTo>
                <a:lnTo>
                  <a:pt x="2440335" y="1833030"/>
                </a:lnTo>
                <a:cubicBezTo>
                  <a:pt x="2444813" y="1836179"/>
                  <a:pt x="2462731" y="1848772"/>
                  <a:pt x="2534394" y="1899144"/>
                </a:cubicBezTo>
                <a:lnTo>
                  <a:pt x="2534029" y="1899336"/>
                </a:lnTo>
                <a:lnTo>
                  <a:pt x="2534730" y="1899832"/>
                </a:lnTo>
                <a:lnTo>
                  <a:pt x="2535118" y="1899631"/>
                </a:lnTo>
                <a:lnTo>
                  <a:pt x="2537664" y="1899239"/>
                </a:lnTo>
                <a:lnTo>
                  <a:pt x="2560730" y="1893893"/>
                </a:lnTo>
                <a:lnTo>
                  <a:pt x="2560180" y="1893893"/>
                </a:lnTo>
                <a:cubicBezTo>
                  <a:pt x="2560180" y="1893893"/>
                  <a:pt x="2560180" y="1893893"/>
                  <a:pt x="2572315" y="1768480"/>
                </a:cubicBezTo>
                <a:lnTo>
                  <a:pt x="2586836" y="1896133"/>
                </a:lnTo>
                <a:lnTo>
                  <a:pt x="2609511" y="1899631"/>
                </a:lnTo>
                <a:lnTo>
                  <a:pt x="2611656" y="1900736"/>
                </a:lnTo>
                <a:lnTo>
                  <a:pt x="2708830" y="1831981"/>
                </a:lnTo>
                <a:lnTo>
                  <a:pt x="2635257" y="1912896"/>
                </a:lnTo>
                <a:lnTo>
                  <a:pt x="2639887" y="1915281"/>
                </a:lnTo>
                <a:lnTo>
                  <a:pt x="2648487" y="1925030"/>
                </a:lnTo>
                <a:lnTo>
                  <a:pt x="2755846" y="1893893"/>
                </a:lnTo>
                <a:lnTo>
                  <a:pt x="2662368" y="1946074"/>
                </a:lnTo>
                <a:lnTo>
                  <a:pt x="2666907" y="1963250"/>
                </a:lnTo>
                <a:lnTo>
                  <a:pt x="2774046" y="1976443"/>
                </a:lnTo>
                <a:lnTo>
                  <a:pt x="2665769" y="1985776"/>
                </a:lnTo>
                <a:lnTo>
                  <a:pt x="2679932" y="2168582"/>
                </a:lnTo>
                <a:lnTo>
                  <a:pt x="2689205" y="2169688"/>
                </a:lnTo>
                <a:cubicBezTo>
                  <a:pt x="2699151" y="2171302"/>
                  <a:pt x="2707739" y="2173447"/>
                  <a:pt x="2714643" y="2176878"/>
                </a:cubicBezTo>
                <a:cubicBezTo>
                  <a:pt x="2752435" y="2195179"/>
                  <a:pt x="2743712" y="2274483"/>
                  <a:pt x="2749527" y="2320235"/>
                </a:cubicBezTo>
                <a:cubicBezTo>
                  <a:pt x="2749527" y="2326336"/>
                  <a:pt x="2813479" y="2365987"/>
                  <a:pt x="2813479" y="2365987"/>
                </a:cubicBezTo>
                <a:cubicBezTo>
                  <a:pt x="2813479" y="2365987"/>
                  <a:pt x="2813479" y="2365987"/>
                  <a:pt x="2758246" y="2423940"/>
                </a:cubicBezTo>
                <a:cubicBezTo>
                  <a:pt x="2758246" y="2423940"/>
                  <a:pt x="2758246" y="2423940"/>
                  <a:pt x="2758246" y="2913890"/>
                </a:cubicBezTo>
                <a:lnTo>
                  <a:pt x="2758246" y="2921044"/>
                </a:lnTo>
                <a:lnTo>
                  <a:pt x="2805898" y="2960695"/>
                </a:lnTo>
                <a:lnTo>
                  <a:pt x="2805898" y="3308358"/>
                </a:lnTo>
                <a:lnTo>
                  <a:pt x="2758246" y="3308358"/>
                </a:lnTo>
                <a:lnTo>
                  <a:pt x="2758246" y="3308359"/>
                </a:lnTo>
                <a:lnTo>
                  <a:pt x="2860497" y="3308359"/>
                </a:lnTo>
                <a:lnTo>
                  <a:pt x="2860497" y="3368684"/>
                </a:lnTo>
                <a:lnTo>
                  <a:pt x="2869613" y="3368684"/>
                </a:lnTo>
                <a:lnTo>
                  <a:pt x="2869613" y="3363867"/>
                </a:lnTo>
                <a:cubicBezTo>
                  <a:pt x="2869613" y="3346912"/>
                  <a:pt x="2869613" y="3279090"/>
                  <a:pt x="2869613" y="3007803"/>
                </a:cubicBezTo>
                <a:lnTo>
                  <a:pt x="2869613" y="2930533"/>
                </a:lnTo>
                <a:lnTo>
                  <a:pt x="2869583" y="2930533"/>
                </a:lnTo>
                <a:cubicBezTo>
                  <a:pt x="2869583" y="2930533"/>
                  <a:pt x="2869583" y="2930533"/>
                  <a:pt x="2869583" y="2884650"/>
                </a:cubicBezTo>
                <a:lnTo>
                  <a:pt x="2869613" y="2884650"/>
                </a:lnTo>
                <a:lnTo>
                  <a:pt x="2869613" y="2884647"/>
                </a:lnTo>
                <a:lnTo>
                  <a:pt x="2869613" y="2881510"/>
                </a:lnTo>
                <a:cubicBezTo>
                  <a:pt x="2869613" y="2879795"/>
                  <a:pt x="2869613" y="2877223"/>
                  <a:pt x="2869613" y="2873365"/>
                </a:cubicBezTo>
                <a:lnTo>
                  <a:pt x="2869613" y="2857507"/>
                </a:lnTo>
                <a:lnTo>
                  <a:pt x="2869583" y="2857507"/>
                </a:lnTo>
                <a:cubicBezTo>
                  <a:pt x="2869583" y="2857507"/>
                  <a:pt x="2869583" y="2857507"/>
                  <a:pt x="2869583" y="2811693"/>
                </a:cubicBezTo>
                <a:lnTo>
                  <a:pt x="2869613" y="2811693"/>
                </a:lnTo>
                <a:lnTo>
                  <a:pt x="2869613" y="2811691"/>
                </a:lnTo>
                <a:cubicBezTo>
                  <a:pt x="2869613" y="2811691"/>
                  <a:pt x="2869613" y="2811691"/>
                  <a:pt x="2974875" y="2811691"/>
                </a:cubicBezTo>
                <a:lnTo>
                  <a:pt x="3026709" y="2811691"/>
                </a:lnTo>
                <a:lnTo>
                  <a:pt x="3029619" y="2796422"/>
                </a:lnTo>
                <a:lnTo>
                  <a:pt x="3045155" y="2751620"/>
                </a:lnTo>
                <a:lnTo>
                  <a:pt x="3055385" y="2718251"/>
                </a:lnTo>
                <a:lnTo>
                  <a:pt x="3058048" y="2714440"/>
                </a:lnTo>
                <a:lnTo>
                  <a:pt x="3059854" y="2709234"/>
                </a:lnTo>
                <a:lnTo>
                  <a:pt x="3086539" y="2673681"/>
                </a:lnTo>
                <a:lnTo>
                  <a:pt x="3107490" y="2643709"/>
                </a:lnTo>
                <a:lnTo>
                  <a:pt x="3111733" y="2640116"/>
                </a:lnTo>
                <a:lnTo>
                  <a:pt x="3112187" y="2639512"/>
                </a:lnTo>
                <a:lnTo>
                  <a:pt x="3113416" y="2638691"/>
                </a:lnTo>
                <a:lnTo>
                  <a:pt x="3140807" y="2615494"/>
                </a:lnTo>
                <a:cubicBezTo>
                  <a:pt x="3152617" y="2607226"/>
                  <a:pt x="3165098" y="2600139"/>
                  <a:pt x="3178148" y="2594365"/>
                </a:cubicBezTo>
                <a:lnTo>
                  <a:pt x="3181357" y="2593321"/>
                </a:lnTo>
                <a:lnTo>
                  <a:pt x="3181434" y="2593269"/>
                </a:lnTo>
                <a:lnTo>
                  <a:pt x="3184331" y="2592353"/>
                </a:lnTo>
                <a:lnTo>
                  <a:pt x="3218898" y="2581110"/>
                </a:lnTo>
                <a:lnTo>
                  <a:pt x="3220402" y="2580951"/>
                </a:lnTo>
                <a:lnTo>
                  <a:pt x="3220781" y="2580832"/>
                </a:lnTo>
                <a:cubicBezTo>
                  <a:pt x="3234313" y="2577998"/>
                  <a:pt x="3248227" y="2576519"/>
                  <a:pt x="3262412" y="2576519"/>
                </a:cubicBezTo>
                <a:lnTo>
                  <a:pt x="3262412" y="2576520"/>
                </a:lnTo>
                <a:lnTo>
                  <a:pt x="3262445" y="2576517"/>
                </a:lnTo>
                <a:cubicBezTo>
                  <a:pt x="3378843" y="2576517"/>
                  <a:pt x="3477781" y="2677306"/>
                  <a:pt x="3495240" y="2811691"/>
                </a:cubicBezTo>
                <a:cubicBezTo>
                  <a:pt x="3495240" y="2811691"/>
                  <a:pt x="3495240" y="2811691"/>
                  <a:pt x="3602460" y="2811691"/>
                </a:cubicBezTo>
                <a:lnTo>
                  <a:pt x="3635514" y="2811691"/>
                </a:lnTo>
                <a:lnTo>
                  <a:pt x="3635514" y="2759234"/>
                </a:lnTo>
                <a:lnTo>
                  <a:pt x="3635514" y="2744946"/>
                </a:lnTo>
                <a:lnTo>
                  <a:pt x="3635514" y="2673506"/>
                </a:lnTo>
                <a:lnTo>
                  <a:pt x="3635514" y="2659218"/>
                </a:lnTo>
                <a:lnTo>
                  <a:pt x="3635514" y="2589366"/>
                </a:lnTo>
                <a:lnTo>
                  <a:pt x="3635514" y="2573490"/>
                </a:lnTo>
                <a:lnTo>
                  <a:pt x="3635514" y="2503638"/>
                </a:lnTo>
                <a:lnTo>
                  <a:pt x="3635514" y="2487762"/>
                </a:lnTo>
                <a:lnTo>
                  <a:pt x="3635514" y="2417910"/>
                </a:lnTo>
                <a:lnTo>
                  <a:pt x="3635514" y="2402034"/>
                </a:lnTo>
                <a:lnTo>
                  <a:pt x="3635514" y="2332182"/>
                </a:lnTo>
                <a:lnTo>
                  <a:pt x="3635514" y="2317894"/>
                </a:lnTo>
                <a:lnTo>
                  <a:pt x="3635535" y="2317894"/>
                </a:lnTo>
                <a:lnTo>
                  <a:pt x="3635535" y="2317893"/>
                </a:lnTo>
                <a:lnTo>
                  <a:pt x="3635514" y="2317893"/>
                </a:lnTo>
                <a:lnTo>
                  <a:pt x="3635514" y="2248041"/>
                </a:lnTo>
                <a:lnTo>
                  <a:pt x="3635514" y="2232165"/>
                </a:lnTo>
                <a:lnTo>
                  <a:pt x="3635514" y="2162313"/>
                </a:lnTo>
                <a:lnTo>
                  <a:pt x="3635514" y="2146437"/>
                </a:lnTo>
                <a:lnTo>
                  <a:pt x="3635514" y="2076585"/>
                </a:lnTo>
                <a:lnTo>
                  <a:pt x="3635514" y="2060709"/>
                </a:lnTo>
                <a:lnTo>
                  <a:pt x="3635514" y="1990857"/>
                </a:lnTo>
                <a:lnTo>
                  <a:pt x="3635514" y="1976569"/>
                </a:lnTo>
                <a:lnTo>
                  <a:pt x="3635514" y="1905129"/>
                </a:lnTo>
                <a:lnTo>
                  <a:pt x="3635514" y="1890841"/>
                </a:lnTo>
                <a:lnTo>
                  <a:pt x="3635535" y="1890841"/>
                </a:lnTo>
                <a:lnTo>
                  <a:pt x="3635535" y="1890840"/>
                </a:lnTo>
                <a:lnTo>
                  <a:pt x="3635514" y="1890840"/>
                </a:lnTo>
                <a:lnTo>
                  <a:pt x="3635514" y="1820989"/>
                </a:lnTo>
                <a:lnTo>
                  <a:pt x="3635514" y="1820988"/>
                </a:lnTo>
                <a:lnTo>
                  <a:pt x="3635514" y="1805113"/>
                </a:lnTo>
                <a:lnTo>
                  <a:pt x="3635535" y="1805113"/>
                </a:lnTo>
                <a:lnTo>
                  <a:pt x="3635535" y="1805112"/>
                </a:lnTo>
                <a:lnTo>
                  <a:pt x="3635514" y="1805112"/>
                </a:lnTo>
                <a:lnTo>
                  <a:pt x="3635514" y="1735261"/>
                </a:lnTo>
                <a:lnTo>
                  <a:pt x="3635514" y="1735260"/>
                </a:lnTo>
                <a:lnTo>
                  <a:pt x="3635514" y="1719385"/>
                </a:lnTo>
                <a:lnTo>
                  <a:pt x="3635514" y="1649533"/>
                </a:lnTo>
                <a:lnTo>
                  <a:pt x="3635514" y="1649532"/>
                </a:lnTo>
                <a:lnTo>
                  <a:pt x="3635514" y="1633657"/>
                </a:lnTo>
                <a:lnTo>
                  <a:pt x="3635514" y="1563804"/>
                </a:lnTo>
                <a:lnTo>
                  <a:pt x="3635514" y="1549516"/>
                </a:lnTo>
                <a:lnTo>
                  <a:pt x="3635514" y="1479664"/>
                </a:lnTo>
                <a:lnTo>
                  <a:pt x="3635514" y="1463788"/>
                </a:lnTo>
                <a:lnTo>
                  <a:pt x="3635514" y="1393936"/>
                </a:lnTo>
                <a:lnTo>
                  <a:pt x="3635514" y="1378060"/>
                </a:lnTo>
                <a:lnTo>
                  <a:pt x="3635514" y="1308208"/>
                </a:lnTo>
                <a:lnTo>
                  <a:pt x="3635514" y="1308207"/>
                </a:lnTo>
                <a:lnTo>
                  <a:pt x="3635514" y="1292332"/>
                </a:lnTo>
                <a:lnTo>
                  <a:pt x="3635514" y="1222480"/>
                </a:lnTo>
                <a:lnTo>
                  <a:pt x="3635514" y="1222479"/>
                </a:lnTo>
                <a:lnTo>
                  <a:pt x="3635514" y="1208192"/>
                </a:lnTo>
                <a:lnTo>
                  <a:pt x="3635535" y="1208192"/>
                </a:lnTo>
                <a:lnTo>
                  <a:pt x="3635535" y="1208191"/>
                </a:lnTo>
                <a:lnTo>
                  <a:pt x="3635514" y="1208191"/>
                </a:lnTo>
                <a:lnTo>
                  <a:pt x="3635514" y="1152627"/>
                </a:lnTo>
                <a:lnTo>
                  <a:pt x="3635514" y="1125639"/>
                </a:lnTo>
                <a:lnTo>
                  <a:pt x="3635535" y="1125639"/>
                </a:lnTo>
                <a:lnTo>
                  <a:pt x="3635535" y="1125540"/>
                </a:lnTo>
                <a:lnTo>
                  <a:pt x="3699218" y="1125540"/>
                </a:lnTo>
                <a:lnTo>
                  <a:pt x="3699218" y="1033560"/>
                </a:lnTo>
                <a:lnTo>
                  <a:pt x="3699218" y="1006572"/>
                </a:lnTo>
                <a:lnTo>
                  <a:pt x="3699238" y="1006572"/>
                </a:lnTo>
                <a:lnTo>
                  <a:pt x="3699238" y="1006478"/>
                </a:lnTo>
                <a:lnTo>
                  <a:pt x="3752324" y="1006478"/>
                </a:lnTo>
                <a:lnTo>
                  <a:pt x="3754899" y="1002533"/>
                </a:lnTo>
                <a:lnTo>
                  <a:pt x="3873645" y="817653"/>
                </a:lnTo>
                <a:lnTo>
                  <a:pt x="3875532" y="817653"/>
                </a:lnTo>
                <a:lnTo>
                  <a:pt x="3875532" y="817652"/>
                </a:lnTo>
                <a:lnTo>
                  <a:pt x="3873645" y="817652"/>
                </a:lnTo>
                <a:lnTo>
                  <a:pt x="3834209" y="817652"/>
                </a:lnTo>
                <a:lnTo>
                  <a:pt x="3834209" y="768438"/>
                </a:lnTo>
                <a:lnTo>
                  <a:pt x="3834229" y="768438"/>
                </a:lnTo>
                <a:lnTo>
                  <a:pt x="3834229" y="768352"/>
                </a:lnTo>
                <a:lnTo>
                  <a:pt x="3911563" y="768352"/>
                </a:lnTo>
                <a:lnTo>
                  <a:pt x="3911563" y="766573"/>
                </a:lnTo>
                <a:cubicBezTo>
                  <a:pt x="3911563" y="760282"/>
                  <a:pt x="3911563" y="735119"/>
                  <a:pt x="3911563" y="634468"/>
                </a:cubicBezTo>
                <a:lnTo>
                  <a:pt x="3911584" y="634468"/>
                </a:lnTo>
                <a:lnTo>
                  <a:pt x="3911584" y="633496"/>
                </a:lnTo>
                <a:lnTo>
                  <a:pt x="3911564" y="633496"/>
                </a:lnTo>
                <a:lnTo>
                  <a:pt x="3888811" y="633496"/>
                </a:lnTo>
                <a:lnTo>
                  <a:pt x="3888811" y="612858"/>
                </a:lnTo>
                <a:lnTo>
                  <a:pt x="3888832" y="612858"/>
                </a:lnTo>
                <a:lnTo>
                  <a:pt x="3888832" y="612777"/>
                </a:lnTo>
                <a:lnTo>
                  <a:pt x="3911563" y="612777"/>
                </a:lnTo>
                <a:lnTo>
                  <a:pt x="3911563" y="610735"/>
                </a:lnTo>
                <a:cubicBezTo>
                  <a:pt x="3911563" y="603586"/>
                  <a:pt x="3911563" y="574992"/>
                  <a:pt x="3911563" y="460616"/>
                </a:cubicBezTo>
                <a:lnTo>
                  <a:pt x="3911584" y="460616"/>
                </a:lnTo>
                <a:lnTo>
                  <a:pt x="3911584" y="460452"/>
                </a:lnTo>
                <a:lnTo>
                  <a:pt x="3911564" y="460452"/>
                </a:lnTo>
                <a:lnTo>
                  <a:pt x="3888811" y="460452"/>
                </a:lnTo>
                <a:lnTo>
                  <a:pt x="3888811" y="439814"/>
                </a:lnTo>
                <a:lnTo>
                  <a:pt x="3888832" y="439814"/>
                </a:lnTo>
                <a:lnTo>
                  <a:pt x="3888832" y="439739"/>
                </a:lnTo>
                <a:lnTo>
                  <a:pt x="3911584" y="439739"/>
                </a:lnTo>
                <a:lnTo>
                  <a:pt x="3911584" y="439266"/>
                </a:lnTo>
                <a:lnTo>
                  <a:pt x="3911563" y="439266"/>
                </a:lnTo>
                <a:cubicBezTo>
                  <a:pt x="3911563" y="439266"/>
                  <a:pt x="3911563" y="439266"/>
                  <a:pt x="3911563" y="337101"/>
                </a:cubicBezTo>
                <a:lnTo>
                  <a:pt x="3911563" y="287409"/>
                </a:lnTo>
                <a:lnTo>
                  <a:pt x="3888811" y="287409"/>
                </a:lnTo>
                <a:lnTo>
                  <a:pt x="3888811" y="265183"/>
                </a:lnTo>
                <a:lnTo>
                  <a:pt x="3888832" y="265183"/>
                </a:lnTo>
                <a:lnTo>
                  <a:pt x="3888832" y="265113"/>
                </a:lnTo>
                <a:lnTo>
                  <a:pt x="3911563" y="265113"/>
                </a:lnTo>
                <a:lnTo>
                  <a:pt x="3911563" y="262983"/>
                </a:lnTo>
                <a:cubicBezTo>
                  <a:pt x="3911563" y="255692"/>
                  <a:pt x="3911563" y="226526"/>
                  <a:pt x="3911563" y="109862"/>
                </a:cubicBezTo>
                <a:lnTo>
                  <a:pt x="3911584" y="109862"/>
                </a:lnTo>
                <a:lnTo>
                  <a:pt x="3911584" y="109602"/>
                </a:lnTo>
                <a:lnTo>
                  <a:pt x="3911564" y="109602"/>
                </a:lnTo>
                <a:lnTo>
                  <a:pt x="3888811" y="109602"/>
                </a:lnTo>
                <a:lnTo>
                  <a:pt x="3888811" y="92139"/>
                </a:lnTo>
                <a:lnTo>
                  <a:pt x="3888832" y="92139"/>
                </a:lnTo>
                <a:lnTo>
                  <a:pt x="3888832" y="92075"/>
                </a:lnTo>
                <a:lnTo>
                  <a:pt x="3911584" y="92075"/>
                </a:lnTo>
                <a:lnTo>
                  <a:pt x="3911584" y="91562"/>
                </a:lnTo>
                <a:lnTo>
                  <a:pt x="3911563" y="91562"/>
                </a:lnTo>
                <a:cubicBezTo>
                  <a:pt x="3911563" y="91562"/>
                  <a:pt x="3911563" y="91562"/>
                  <a:pt x="3911563" y="9211"/>
                </a:cubicBezTo>
                <a:lnTo>
                  <a:pt x="3911584" y="9190"/>
                </a:lnTo>
                <a:lnTo>
                  <a:pt x="3911584" y="9150"/>
                </a:lnTo>
                <a:cubicBezTo>
                  <a:pt x="3911584" y="3050"/>
                  <a:pt x="3914618" y="0"/>
                  <a:pt x="3920684" y="0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algn="ctr"/>
            <a:endParaRPr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1211D2A-1605-468E-A0DC-B5B78252E53B}"/>
              </a:ext>
            </a:extLst>
          </p:cNvPr>
          <p:cNvSpPr/>
          <p:nvPr userDrawn="1"/>
        </p:nvSpPr>
        <p:spPr>
          <a:xfrm>
            <a:off x="3797301" y="2171919"/>
            <a:ext cx="7723187" cy="16184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fast-forward_275207">
            <a:extLst>
              <a:ext uri="{FF2B5EF4-FFF2-40B4-BE49-F238E27FC236}">
                <a16:creationId xmlns:a16="http://schemas.microsoft.com/office/drawing/2014/main" id="{126E1632-0047-4AD8-B696-F54A75B00165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064432" y="2818778"/>
            <a:ext cx="609685" cy="324718"/>
          </a:xfrm>
          <a:custGeom>
            <a:avLst/>
            <a:gdLst>
              <a:gd name="connsiteX0" fmla="*/ 293671 w 607609"/>
              <a:gd name="connsiteY0" fmla="*/ 0 h 323613"/>
              <a:gd name="connsiteX1" fmla="*/ 455681 w 607609"/>
              <a:gd name="connsiteY1" fmla="*/ 0 h 323613"/>
              <a:gd name="connsiteX2" fmla="*/ 463069 w 607609"/>
              <a:gd name="connsiteY2" fmla="*/ 3200 h 323613"/>
              <a:gd name="connsiteX3" fmla="*/ 604872 w 607609"/>
              <a:gd name="connsiteY3" fmla="*/ 154918 h 323613"/>
              <a:gd name="connsiteX4" fmla="*/ 604872 w 607609"/>
              <a:gd name="connsiteY4" fmla="*/ 168695 h 323613"/>
              <a:gd name="connsiteX5" fmla="*/ 463069 w 607609"/>
              <a:gd name="connsiteY5" fmla="*/ 320413 h 323613"/>
              <a:gd name="connsiteX6" fmla="*/ 455681 w 607609"/>
              <a:gd name="connsiteY6" fmla="*/ 323613 h 323613"/>
              <a:gd name="connsiteX7" fmla="*/ 293671 w 607609"/>
              <a:gd name="connsiteY7" fmla="*/ 323613 h 323613"/>
              <a:gd name="connsiteX8" fmla="*/ 284324 w 607609"/>
              <a:gd name="connsiteY8" fmla="*/ 317391 h 323613"/>
              <a:gd name="connsiteX9" fmla="*/ 286461 w 607609"/>
              <a:gd name="connsiteY9" fmla="*/ 306370 h 323613"/>
              <a:gd name="connsiteX10" fmla="*/ 431201 w 607609"/>
              <a:gd name="connsiteY10" fmla="*/ 161762 h 323613"/>
              <a:gd name="connsiteX11" fmla="*/ 286461 w 607609"/>
              <a:gd name="connsiteY11" fmla="*/ 17243 h 323613"/>
              <a:gd name="connsiteX12" fmla="*/ 284324 w 607609"/>
              <a:gd name="connsiteY12" fmla="*/ 6222 h 323613"/>
              <a:gd name="connsiteX13" fmla="*/ 293671 w 607609"/>
              <a:gd name="connsiteY13" fmla="*/ 0 h 323613"/>
              <a:gd name="connsiteX14" fmla="*/ 10137 w 607609"/>
              <a:gd name="connsiteY14" fmla="*/ 0 h 323613"/>
              <a:gd name="connsiteX15" fmla="*/ 172112 w 607609"/>
              <a:gd name="connsiteY15" fmla="*/ 0 h 323613"/>
              <a:gd name="connsiteX16" fmla="*/ 179499 w 607609"/>
              <a:gd name="connsiteY16" fmla="*/ 3200 h 323613"/>
              <a:gd name="connsiteX17" fmla="*/ 321271 w 607609"/>
              <a:gd name="connsiteY17" fmla="*/ 154918 h 323613"/>
              <a:gd name="connsiteX18" fmla="*/ 321271 w 607609"/>
              <a:gd name="connsiteY18" fmla="*/ 168695 h 323613"/>
              <a:gd name="connsiteX19" fmla="*/ 179499 w 607609"/>
              <a:gd name="connsiteY19" fmla="*/ 320413 h 323613"/>
              <a:gd name="connsiteX20" fmla="*/ 172112 w 607609"/>
              <a:gd name="connsiteY20" fmla="*/ 323613 h 323613"/>
              <a:gd name="connsiteX21" fmla="*/ 10137 w 607609"/>
              <a:gd name="connsiteY21" fmla="*/ 323613 h 323613"/>
              <a:gd name="connsiteX22" fmla="*/ 792 w 607609"/>
              <a:gd name="connsiteY22" fmla="*/ 317391 h 323613"/>
              <a:gd name="connsiteX23" fmla="*/ 2928 w 607609"/>
              <a:gd name="connsiteY23" fmla="*/ 306370 h 323613"/>
              <a:gd name="connsiteX24" fmla="*/ 147727 w 607609"/>
              <a:gd name="connsiteY24" fmla="*/ 161762 h 323613"/>
              <a:gd name="connsiteX25" fmla="*/ 2928 w 607609"/>
              <a:gd name="connsiteY25" fmla="*/ 17243 h 323613"/>
              <a:gd name="connsiteX26" fmla="*/ 792 w 607609"/>
              <a:gd name="connsiteY26" fmla="*/ 6222 h 323613"/>
              <a:gd name="connsiteX27" fmla="*/ 10137 w 607609"/>
              <a:gd name="connsiteY27" fmla="*/ 0 h 323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07609" h="323613">
                <a:moveTo>
                  <a:pt x="293671" y="0"/>
                </a:moveTo>
                <a:lnTo>
                  <a:pt x="455681" y="0"/>
                </a:lnTo>
                <a:cubicBezTo>
                  <a:pt x="458529" y="0"/>
                  <a:pt x="461200" y="1155"/>
                  <a:pt x="463069" y="3200"/>
                </a:cubicBezTo>
                <a:lnTo>
                  <a:pt x="604872" y="154918"/>
                </a:lnTo>
                <a:cubicBezTo>
                  <a:pt x="608522" y="158740"/>
                  <a:pt x="608522" y="164784"/>
                  <a:pt x="604872" y="168695"/>
                </a:cubicBezTo>
                <a:lnTo>
                  <a:pt x="463069" y="320413"/>
                </a:lnTo>
                <a:cubicBezTo>
                  <a:pt x="461200" y="322458"/>
                  <a:pt x="458529" y="323613"/>
                  <a:pt x="455681" y="323613"/>
                </a:cubicBezTo>
                <a:lnTo>
                  <a:pt x="293671" y="323613"/>
                </a:lnTo>
                <a:cubicBezTo>
                  <a:pt x="289576" y="323613"/>
                  <a:pt x="285838" y="321124"/>
                  <a:pt x="284324" y="317391"/>
                </a:cubicBezTo>
                <a:cubicBezTo>
                  <a:pt x="282722" y="313570"/>
                  <a:pt x="283612" y="309214"/>
                  <a:pt x="286461" y="306370"/>
                </a:cubicBezTo>
                <a:lnTo>
                  <a:pt x="431201" y="161762"/>
                </a:lnTo>
                <a:lnTo>
                  <a:pt x="286461" y="17243"/>
                </a:lnTo>
                <a:cubicBezTo>
                  <a:pt x="283612" y="14399"/>
                  <a:pt x="282722" y="10043"/>
                  <a:pt x="284324" y="6222"/>
                </a:cubicBezTo>
                <a:cubicBezTo>
                  <a:pt x="285838" y="2489"/>
                  <a:pt x="289576" y="0"/>
                  <a:pt x="293671" y="0"/>
                </a:cubicBezTo>
                <a:close/>
                <a:moveTo>
                  <a:pt x="10137" y="0"/>
                </a:moveTo>
                <a:lnTo>
                  <a:pt x="172112" y="0"/>
                </a:lnTo>
                <a:cubicBezTo>
                  <a:pt x="174960" y="0"/>
                  <a:pt x="177630" y="1155"/>
                  <a:pt x="179499" y="3200"/>
                </a:cubicBezTo>
                <a:lnTo>
                  <a:pt x="321271" y="154918"/>
                </a:lnTo>
                <a:cubicBezTo>
                  <a:pt x="324920" y="158740"/>
                  <a:pt x="324920" y="164784"/>
                  <a:pt x="321271" y="168695"/>
                </a:cubicBezTo>
                <a:lnTo>
                  <a:pt x="179499" y="320413"/>
                </a:lnTo>
                <a:cubicBezTo>
                  <a:pt x="177630" y="322458"/>
                  <a:pt x="174960" y="323613"/>
                  <a:pt x="172112" y="323613"/>
                </a:cubicBezTo>
                <a:lnTo>
                  <a:pt x="10137" y="323613"/>
                </a:lnTo>
                <a:cubicBezTo>
                  <a:pt x="6043" y="323613"/>
                  <a:pt x="2305" y="321124"/>
                  <a:pt x="792" y="317391"/>
                </a:cubicBezTo>
                <a:cubicBezTo>
                  <a:pt x="-810" y="313570"/>
                  <a:pt x="80" y="309214"/>
                  <a:pt x="2928" y="306370"/>
                </a:cubicBezTo>
                <a:lnTo>
                  <a:pt x="147727" y="161762"/>
                </a:lnTo>
                <a:lnTo>
                  <a:pt x="2928" y="17243"/>
                </a:lnTo>
                <a:cubicBezTo>
                  <a:pt x="80" y="14399"/>
                  <a:pt x="-810" y="10043"/>
                  <a:pt x="792" y="6222"/>
                </a:cubicBezTo>
                <a:cubicBezTo>
                  <a:pt x="2305" y="2489"/>
                  <a:pt x="6043" y="0"/>
                  <a:pt x="10137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967794" y="2229068"/>
            <a:ext cx="5419185" cy="785199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968910" y="3014268"/>
            <a:ext cx="5419185" cy="722708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7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7/9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70FD56A0-9D7E-4BF4-B461-107B23D7F845}"/>
              </a:ext>
            </a:extLst>
          </p:cNvPr>
          <p:cNvSpPr/>
          <p:nvPr userDrawn="1"/>
        </p:nvSpPr>
        <p:spPr bwMode="auto">
          <a:xfrm>
            <a:off x="0" y="3135490"/>
            <a:ext cx="12226330" cy="3722511"/>
          </a:xfrm>
          <a:custGeom>
            <a:avLst/>
            <a:gdLst>
              <a:gd name="connsiteX0" fmla="*/ 4492347 w 12305293"/>
              <a:gd name="connsiteY0" fmla="*/ 3668778 h 3722511"/>
              <a:gd name="connsiteX1" fmla="*/ 4492347 w 12305293"/>
              <a:gd name="connsiteY1" fmla="*/ 3668779 h 3722511"/>
              <a:gd name="connsiteX2" fmla="*/ 4492419 w 12305293"/>
              <a:gd name="connsiteY2" fmla="*/ 3668779 h 3722511"/>
              <a:gd name="connsiteX3" fmla="*/ 4493162 w 12305293"/>
              <a:gd name="connsiteY3" fmla="*/ 3668779 h 3722511"/>
              <a:gd name="connsiteX4" fmla="*/ 4499732 w 12305293"/>
              <a:gd name="connsiteY4" fmla="*/ 3668779 h 3722511"/>
              <a:gd name="connsiteX5" fmla="*/ 4515335 w 12305293"/>
              <a:gd name="connsiteY5" fmla="*/ 3668779 h 3722511"/>
              <a:gd name="connsiteX6" fmla="*/ 4545722 w 12305293"/>
              <a:gd name="connsiteY6" fmla="*/ 3668779 h 3722511"/>
              <a:gd name="connsiteX7" fmla="*/ 4595819 w 12305293"/>
              <a:gd name="connsiteY7" fmla="*/ 3668779 h 3722511"/>
              <a:gd name="connsiteX8" fmla="*/ 4670553 w 12305293"/>
              <a:gd name="connsiteY8" fmla="*/ 3668779 h 3722511"/>
              <a:gd name="connsiteX9" fmla="*/ 4774853 w 12305293"/>
              <a:gd name="connsiteY9" fmla="*/ 3668779 h 3722511"/>
              <a:gd name="connsiteX10" fmla="*/ 4913644 w 12305293"/>
              <a:gd name="connsiteY10" fmla="*/ 3668779 h 3722511"/>
              <a:gd name="connsiteX11" fmla="*/ 5282926 w 12305293"/>
              <a:gd name="connsiteY11" fmla="*/ 3668779 h 3722511"/>
              <a:gd name="connsiteX12" fmla="*/ 5282926 w 12305293"/>
              <a:gd name="connsiteY12" fmla="*/ 3668778 h 3722511"/>
              <a:gd name="connsiteX13" fmla="*/ 4916885 w 12305293"/>
              <a:gd name="connsiteY13" fmla="*/ 3668778 h 3722511"/>
              <a:gd name="connsiteX14" fmla="*/ 4913644 w 12305293"/>
              <a:gd name="connsiteY14" fmla="*/ 3668778 h 3722511"/>
              <a:gd name="connsiteX15" fmla="*/ 4492419 w 12305293"/>
              <a:gd name="connsiteY15" fmla="*/ 3668778 h 3722511"/>
              <a:gd name="connsiteX16" fmla="*/ 3055361 w 12305293"/>
              <a:gd name="connsiteY16" fmla="*/ 3644953 h 3722511"/>
              <a:gd name="connsiteX17" fmla="*/ 3055361 w 12305293"/>
              <a:gd name="connsiteY17" fmla="*/ 3703690 h 3722511"/>
              <a:gd name="connsiteX18" fmla="*/ 3065125 w 12305293"/>
              <a:gd name="connsiteY18" fmla="*/ 3703690 h 3722511"/>
              <a:gd name="connsiteX19" fmla="*/ 3065125 w 12305293"/>
              <a:gd name="connsiteY19" fmla="*/ 3703148 h 3722511"/>
              <a:gd name="connsiteX20" fmla="*/ 3065098 w 12305293"/>
              <a:gd name="connsiteY20" fmla="*/ 3703148 h 3722511"/>
              <a:gd name="connsiteX21" fmla="*/ 3065098 w 12305293"/>
              <a:gd name="connsiteY21" fmla="*/ 3645226 h 3722511"/>
              <a:gd name="connsiteX22" fmla="*/ 3065125 w 12305293"/>
              <a:gd name="connsiteY22" fmla="*/ 3645226 h 3722511"/>
              <a:gd name="connsiteX23" fmla="*/ 3065125 w 12305293"/>
              <a:gd name="connsiteY23" fmla="*/ 3644953 h 3722511"/>
              <a:gd name="connsiteX24" fmla="*/ 8119019 w 12305293"/>
              <a:gd name="connsiteY24" fmla="*/ 3193932 h 3722511"/>
              <a:gd name="connsiteX25" fmla="*/ 8118360 w 12305293"/>
              <a:gd name="connsiteY25" fmla="*/ 3194577 h 3722511"/>
              <a:gd name="connsiteX26" fmla="*/ 8085010 w 12305293"/>
              <a:gd name="connsiteY26" fmla="*/ 3227255 h 3722511"/>
              <a:gd name="connsiteX27" fmla="*/ 8055685 w 12305293"/>
              <a:gd name="connsiteY27" fmla="*/ 3255988 h 3722511"/>
              <a:gd name="connsiteX28" fmla="*/ 8055847 w 12305293"/>
              <a:gd name="connsiteY28" fmla="*/ 3255988 h 3722511"/>
              <a:gd name="connsiteX29" fmla="*/ 8119019 w 12305293"/>
              <a:gd name="connsiteY29" fmla="*/ 3194711 h 3722511"/>
              <a:gd name="connsiteX30" fmla="*/ 11570066 w 12305293"/>
              <a:gd name="connsiteY30" fmla="*/ 3115784 h 3722511"/>
              <a:gd name="connsiteX31" fmla="*/ 11567505 w 12305293"/>
              <a:gd name="connsiteY31" fmla="*/ 3117981 h 3722511"/>
              <a:gd name="connsiteX32" fmla="*/ 11563060 w 12305293"/>
              <a:gd name="connsiteY32" fmla="*/ 3121791 h 3722511"/>
              <a:gd name="connsiteX33" fmla="*/ 11569818 w 12305293"/>
              <a:gd name="connsiteY33" fmla="*/ 3116273 h 3722511"/>
              <a:gd name="connsiteX34" fmla="*/ 11679984 w 12305293"/>
              <a:gd name="connsiteY34" fmla="*/ 3203585 h 3722511"/>
              <a:gd name="connsiteX35" fmla="*/ 11679984 w 12305293"/>
              <a:gd name="connsiteY35" fmla="*/ 3575086 h 3722511"/>
              <a:gd name="connsiteX36" fmla="*/ 11680221 w 12305293"/>
              <a:gd name="connsiteY36" fmla="*/ 3575086 h 3722511"/>
              <a:gd name="connsiteX37" fmla="*/ 11680221 w 12305293"/>
              <a:gd name="connsiteY37" fmla="*/ 3574404 h 3722511"/>
              <a:gd name="connsiteX38" fmla="*/ 11680221 w 12305293"/>
              <a:gd name="connsiteY38" fmla="*/ 3203637 h 3722511"/>
              <a:gd name="connsiteX39" fmla="*/ 11570066 w 12305293"/>
              <a:gd name="connsiteY39" fmla="*/ 3115784 h 3722511"/>
              <a:gd name="connsiteX40" fmla="*/ 3697880 w 12305293"/>
              <a:gd name="connsiteY40" fmla="*/ 3081386 h 3722511"/>
              <a:gd name="connsiteX41" fmla="*/ 3697875 w 12305293"/>
              <a:gd name="connsiteY41" fmla="*/ 3081401 h 3722511"/>
              <a:gd name="connsiteX42" fmla="*/ 3883174 w 12305293"/>
              <a:gd name="connsiteY42" fmla="*/ 3081401 h 3722511"/>
              <a:gd name="connsiteX43" fmla="*/ 3883174 w 12305293"/>
              <a:gd name="connsiteY43" fmla="*/ 3081386 h 3722511"/>
              <a:gd name="connsiteX44" fmla="*/ 3863317 w 12305293"/>
              <a:gd name="connsiteY44" fmla="*/ 3081386 h 3722511"/>
              <a:gd name="connsiteX45" fmla="*/ 3736453 w 12305293"/>
              <a:gd name="connsiteY45" fmla="*/ 3081386 h 3722511"/>
              <a:gd name="connsiteX46" fmla="*/ 3716784 w 12305293"/>
              <a:gd name="connsiteY46" fmla="*/ 3081386 h 3722511"/>
              <a:gd name="connsiteX47" fmla="*/ 6938046 w 12305293"/>
              <a:gd name="connsiteY47" fmla="*/ 3017605 h 3722511"/>
              <a:gd name="connsiteX48" fmla="*/ 6960659 w 12305293"/>
              <a:gd name="connsiteY48" fmla="*/ 3084483 h 3722511"/>
              <a:gd name="connsiteX49" fmla="*/ 6961143 w 12305293"/>
              <a:gd name="connsiteY49" fmla="*/ 3079838 h 3722511"/>
              <a:gd name="connsiteX50" fmla="*/ 6984400 w 12305293"/>
              <a:gd name="connsiteY50" fmla="*/ 2912583 h 3722511"/>
              <a:gd name="connsiteX51" fmla="*/ 6981535 w 12305293"/>
              <a:gd name="connsiteY51" fmla="*/ 2923841 h 3722511"/>
              <a:gd name="connsiteX52" fmla="*/ 6980146 w 12305293"/>
              <a:gd name="connsiteY52" fmla="*/ 2934684 h 3722511"/>
              <a:gd name="connsiteX53" fmla="*/ 7989526 w 12305293"/>
              <a:gd name="connsiteY53" fmla="*/ 2692114 h 3722511"/>
              <a:gd name="connsiteX54" fmla="*/ 7989526 w 12305293"/>
              <a:gd name="connsiteY54" fmla="*/ 2844695 h 3722511"/>
              <a:gd name="connsiteX55" fmla="*/ 7990072 w 12305293"/>
              <a:gd name="connsiteY55" fmla="*/ 2844695 h 3722511"/>
              <a:gd name="connsiteX56" fmla="*/ 8075811 w 12305293"/>
              <a:gd name="connsiteY56" fmla="*/ 2844695 h 3722511"/>
              <a:gd name="connsiteX57" fmla="*/ 8075811 w 12305293"/>
              <a:gd name="connsiteY57" fmla="*/ 2734251 h 3722511"/>
              <a:gd name="connsiteX58" fmla="*/ 8028419 w 12305293"/>
              <a:gd name="connsiteY58" fmla="*/ 2717622 h 3722511"/>
              <a:gd name="connsiteX59" fmla="*/ 3071561 w 12305293"/>
              <a:gd name="connsiteY59" fmla="*/ 2528938 h 3722511"/>
              <a:gd name="connsiteX60" fmla="*/ 3196297 w 12305293"/>
              <a:gd name="connsiteY60" fmla="*/ 2625773 h 3722511"/>
              <a:gd name="connsiteX61" fmla="*/ 3196299 w 12305293"/>
              <a:gd name="connsiteY61" fmla="*/ 2625775 h 3722511"/>
              <a:gd name="connsiteX62" fmla="*/ 3196299 w 12305293"/>
              <a:gd name="connsiteY62" fmla="*/ 2625776 h 3722511"/>
              <a:gd name="connsiteX63" fmla="*/ 3196299 w 12305293"/>
              <a:gd name="connsiteY63" fmla="*/ 2654350 h 3722511"/>
              <a:gd name="connsiteX64" fmla="*/ 3165953 w 12305293"/>
              <a:gd name="connsiteY64" fmla="*/ 2689129 h 3722511"/>
              <a:gd name="connsiteX65" fmla="*/ 3167645 w 12305293"/>
              <a:gd name="connsiteY65" fmla="*/ 2692529 h 3722511"/>
              <a:gd name="connsiteX66" fmla="*/ 3161007 w 12305293"/>
              <a:gd name="connsiteY66" fmla="*/ 2712135 h 3722511"/>
              <a:gd name="connsiteX67" fmla="*/ 3136012 w 12305293"/>
              <a:gd name="connsiteY67" fmla="*/ 2742298 h 3722511"/>
              <a:gd name="connsiteX68" fmla="*/ 3115705 w 12305293"/>
              <a:gd name="connsiteY68" fmla="*/ 2750215 h 3722511"/>
              <a:gd name="connsiteX69" fmla="*/ 3113426 w 12305293"/>
              <a:gd name="connsiteY69" fmla="*/ 2749327 h 3722511"/>
              <a:gd name="connsiteX70" fmla="*/ 3005140 w 12305293"/>
              <a:gd name="connsiteY70" fmla="*/ 2873426 h 3722511"/>
              <a:gd name="connsiteX71" fmla="*/ 2946823 w 12305293"/>
              <a:gd name="connsiteY71" fmla="*/ 2824213 h 3722511"/>
              <a:gd name="connsiteX72" fmla="*/ 2946823 w 12305293"/>
              <a:gd name="connsiteY72" fmla="*/ 2797226 h 3722511"/>
              <a:gd name="connsiteX73" fmla="*/ 2946823 w 12305293"/>
              <a:gd name="connsiteY73" fmla="*/ 2794051 h 3722511"/>
              <a:gd name="connsiteX74" fmla="*/ 2946823 w 12305293"/>
              <a:gd name="connsiteY74" fmla="*/ 2648001 h 3722511"/>
              <a:gd name="connsiteX75" fmla="*/ 6315875 w 12305293"/>
              <a:gd name="connsiteY75" fmla="*/ 2458142 h 3722511"/>
              <a:gd name="connsiteX76" fmla="*/ 6464458 w 12305293"/>
              <a:gd name="connsiteY76" fmla="*/ 2535954 h 3722511"/>
              <a:gd name="connsiteX77" fmla="*/ 6315875 w 12305293"/>
              <a:gd name="connsiteY77" fmla="*/ 2535954 h 3722511"/>
              <a:gd name="connsiteX78" fmla="*/ 6315875 w 12305293"/>
              <a:gd name="connsiteY78" fmla="*/ 2458142 h 3722511"/>
              <a:gd name="connsiteX79" fmla="*/ 1155115 w 12305293"/>
              <a:gd name="connsiteY79" fmla="*/ 2386064 h 3722511"/>
              <a:gd name="connsiteX80" fmla="*/ 1490024 w 12305293"/>
              <a:gd name="connsiteY80" fmla="*/ 2654788 h 3722511"/>
              <a:gd name="connsiteX81" fmla="*/ 1493718 w 12305293"/>
              <a:gd name="connsiteY81" fmla="*/ 2690879 h 3722511"/>
              <a:gd name="connsiteX82" fmla="*/ 1587686 w 12305293"/>
              <a:gd name="connsiteY82" fmla="*/ 2690879 h 3722511"/>
              <a:gd name="connsiteX83" fmla="*/ 1587686 w 12305293"/>
              <a:gd name="connsiteY83" fmla="*/ 2754379 h 3722511"/>
              <a:gd name="connsiteX84" fmla="*/ 1556890 w 12305293"/>
              <a:gd name="connsiteY84" fmla="*/ 2754379 h 3722511"/>
              <a:gd name="connsiteX85" fmla="*/ 1556890 w 12305293"/>
              <a:gd name="connsiteY85" fmla="*/ 3254429 h 3722511"/>
              <a:gd name="connsiteX86" fmla="*/ 1597376 w 12305293"/>
              <a:gd name="connsiteY86" fmla="*/ 3254429 h 3722511"/>
              <a:gd name="connsiteX87" fmla="*/ 1597376 w 12305293"/>
              <a:gd name="connsiteY87" fmla="*/ 3722511 h 3722511"/>
              <a:gd name="connsiteX88" fmla="*/ 712805 w 12305293"/>
              <a:gd name="connsiteY88" fmla="*/ 3722511 h 3722511"/>
              <a:gd name="connsiteX89" fmla="*/ 712805 w 12305293"/>
              <a:gd name="connsiteY89" fmla="*/ 3254429 h 3722511"/>
              <a:gd name="connsiteX90" fmla="*/ 753308 w 12305293"/>
              <a:gd name="connsiteY90" fmla="*/ 3254429 h 3722511"/>
              <a:gd name="connsiteX91" fmla="*/ 753308 w 12305293"/>
              <a:gd name="connsiteY91" fmla="*/ 2754379 h 3722511"/>
              <a:gd name="connsiteX92" fmla="*/ 725784 w 12305293"/>
              <a:gd name="connsiteY92" fmla="*/ 2754379 h 3722511"/>
              <a:gd name="connsiteX93" fmla="*/ 725783 w 12305293"/>
              <a:gd name="connsiteY93" fmla="*/ 2754379 h 3722511"/>
              <a:gd name="connsiteX94" fmla="*/ 725783 w 12305293"/>
              <a:gd name="connsiteY94" fmla="*/ 2754375 h 3722511"/>
              <a:gd name="connsiteX95" fmla="*/ 725770 w 12305293"/>
              <a:gd name="connsiteY95" fmla="*/ 2754375 h 3722511"/>
              <a:gd name="connsiteX96" fmla="*/ 725770 w 12305293"/>
              <a:gd name="connsiteY96" fmla="*/ 2690875 h 3722511"/>
              <a:gd name="connsiteX97" fmla="*/ 813259 w 12305293"/>
              <a:gd name="connsiteY97" fmla="*/ 2690875 h 3722511"/>
              <a:gd name="connsiteX98" fmla="*/ 813273 w 12305293"/>
              <a:gd name="connsiteY98" fmla="*/ 2690875 h 3722511"/>
              <a:gd name="connsiteX99" fmla="*/ 818269 w 12305293"/>
              <a:gd name="connsiteY99" fmla="*/ 2673636 h 3722511"/>
              <a:gd name="connsiteX100" fmla="*/ 820196 w 12305293"/>
              <a:gd name="connsiteY100" fmla="*/ 2654788 h 3722511"/>
              <a:gd name="connsiteX101" fmla="*/ 833127 w 12305293"/>
              <a:gd name="connsiteY101" fmla="*/ 2622359 h 3722511"/>
              <a:gd name="connsiteX102" fmla="*/ 846192 w 12305293"/>
              <a:gd name="connsiteY102" fmla="*/ 2577292 h 3722511"/>
              <a:gd name="connsiteX103" fmla="*/ 856734 w 12305293"/>
              <a:gd name="connsiteY103" fmla="*/ 2563166 h 3722511"/>
              <a:gd name="connsiteX104" fmla="*/ 862739 w 12305293"/>
              <a:gd name="connsiteY104" fmla="*/ 2548101 h 3722511"/>
              <a:gd name="connsiteX105" fmla="*/ 897349 w 12305293"/>
              <a:gd name="connsiteY105" fmla="*/ 2508748 h 3722511"/>
              <a:gd name="connsiteX106" fmla="*/ 915823 w 12305293"/>
              <a:gd name="connsiteY106" fmla="*/ 2483994 h 3722511"/>
              <a:gd name="connsiteX107" fmla="*/ 926895 w 12305293"/>
              <a:gd name="connsiteY107" fmla="*/ 2475150 h 3722511"/>
              <a:gd name="connsiteX108" fmla="*/ 937650 w 12305293"/>
              <a:gd name="connsiteY108" fmla="*/ 2462916 h 3722511"/>
              <a:gd name="connsiteX109" fmla="*/ 1094597 w 12305293"/>
              <a:gd name="connsiteY109" fmla="*/ 2391320 h 3722511"/>
              <a:gd name="connsiteX110" fmla="*/ 1145816 w 12305293"/>
              <a:gd name="connsiteY110" fmla="*/ 2386872 h 3722511"/>
              <a:gd name="connsiteX111" fmla="*/ 1145816 w 12305293"/>
              <a:gd name="connsiteY111" fmla="*/ 2386077 h 3722511"/>
              <a:gd name="connsiteX112" fmla="*/ 1148921 w 12305293"/>
              <a:gd name="connsiteY112" fmla="*/ 2386077 h 3722511"/>
              <a:gd name="connsiteX113" fmla="*/ 1152027 w 12305293"/>
              <a:gd name="connsiteY113" fmla="*/ 2386077 h 3722511"/>
              <a:gd name="connsiteX114" fmla="*/ 1154965 w 12305293"/>
              <a:gd name="connsiteY114" fmla="*/ 2386077 h 3722511"/>
              <a:gd name="connsiteX115" fmla="*/ 2565784 w 12305293"/>
              <a:gd name="connsiteY115" fmla="*/ 2202783 h 3722511"/>
              <a:gd name="connsiteX116" fmla="*/ 2578487 w 12305293"/>
              <a:gd name="connsiteY116" fmla="*/ 2225179 h 3722511"/>
              <a:gd name="connsiteX117" fmla="*/ 2603093 w 12305293"/>
              <a:gd name="connsiteY117" fmla="*/ 2264359 h 3722511"/>
              <a:gd name="connsiteX118" fmla="*/ 2610026 w 12305293"/>
              <a:gd name="connsiteY118" fmla="*/ 2272947 h 3722511"/>
              <a:gd name="connsiteX119" fmla="*/ 2642542 w 12305293"/>
              <a:gd name="connsiteY119" fmla="*/ 2310231 h 3722511"/>
              <a:gd name="connsiteX120" fmla="*/ 2642970 w 12305293"/>
              <a:gd name="connsiteY120" fmla="*/ 2306384 h 3722511"/>
              <a:gd name="connsiteX121" fmla="*/ 2650840 w 12305293"/>
              <a:gd name="connsiteY121" fmla="*/ 2211284 h 3722511"/>
              <a:gd name="connsiteX122" fmla="*/ 2646489 w 12305293"/>
              <a:gd name="connsiteY122" fmla="*/ 2210693 h 3722511"/>
              <a:gd name="connsiteX123" fmla="*/ 2633487 w 12305293"/>
              <a:gd name="connsiteY123" fmla="*/ 2208925 h 3722511"/>
              <a:gd name="connsiteX124" fmla="*/ 2621182 w 12305293"/>
              <a:gd name="connsiteY124" fmla="*/ 2207253 h 3722511"/>
              <a:gd name="connsiteX125" fmla="*/ 10960470 w 12305293"/>
              <a:gd name="connsiteY125" fmla="*/ 2046601 h 3722511"/>
              <a:gd name="connsiteX126" fmla="*/ 10937308 w 12305293"/>
              <a:gd name="connsiteY126" fmla="*/ 2081629 h 3722511"/>
              <a:gd name="connsiteX127" fmla="*/ 10937308 w 12305293"/>
              <a:gd name="connsiteY127" fmla="*/ 3014574 h 3722511"/>
              <a:gd name="connsiteX128" fmla="*/ 10937308 w 12305293"/>
              <a:gd name="connsiteY128" fmla="*/ 3133711 h 3722511"/>
              <a:gd name="connsiteX129" fmla="*/ 10937990 w 12305293"/>
              <a:gd name="connsiteY129" fmla="*/ 3134251 h 3722511"/>
              <a:gd name="connsiteX130" fmla="*/ 10937990 w 12305293"/>
              <a:gd name="connsiteY130" fmla="*/ 2081284 h 3722511"/>
              <a:gd name="connsiteX131" fmla="*/ 6208575 w 12305293"/>
              <a:gd name="connsiteY131" fmla="*/ 2026397 h 3722511"/>
              <a:gd name="connsiteX132" fmla="*/ 6208575 w 12305293"/>
              <a:gd name="connsiteY132" fmla="*/ 2536122 h 3722511"/>
              <a:gd name="connsiteX133" fmla="*/ 6597943 w 12305293"/>
              <a:gd name="connsiteY133" fmla="*/ 2536122 h 3722511"/>
              <a:gd name="connsiteX134" fmla="*/ 6208575 w 12305293"/>
              <a:gd name="connsiteY134" fmla="*/ 2026397 h 3722511"/>
              <a:gd name="connsiteX135" fmla="*/ 11245806 w 12305293"/>
              <a:gd name="connsiteY135" fmla="*/ 1609787 h 3722511"/>
              <a:gd name="connsiteX136" fmla="*/ 11550381 w 12305293"/>
              <a:gd name="connsiteY136" fmla="*/ 2081284 h 3722511"/>
              <a:gd name="connsiteX137" fmla="*/ 11550381 w 12305293"/>
              <a:gd name="connsiteY137" fmla="*/ 2972709 h 3722511"/>
              <a:gd name="connsiteX138" fmla="*/ 11552173 w 12305293"/>
              <a:gd name="connsiteY138" fmla="*/ 2972709 h 3722511"/>
              <a:gd name="connsiteX139" fmla="*/ 11716086 w 12305293"/>
              <a:gd name="connsiteY139" fmla="*/ 2972709 h 3722511"/>
              <a:gd name="connsiteX140" fmla="*/ 11716086 w 12305293"/>
              <a:gd name="connsiteY140" fmla="*/ 3469088 h 3722511"/>
              <a:gd name="connsiteX141" fmla="*/ 11716086 w 12305293"/>
              <a:gd name="connsiteY141" fmla="*/ 3575086 h 3722511"/>
              <a:gd name="connsiteX142" fmla="*/ 11717206 w 12305293"/>
              <a:gd name="connsiteY142" fmla="*/ 3575086 h 3722511"/>
              <a:gd name="connsiteX143" fmla="*/ 11717206 w 12305293"/>
              <a:gd name="connsiteY143" fmla="*/ 2862263 h 3722511"/>
              <a:gd name="connsiteX144" fmla="*/ 11744266 w 12305293"/>
              <a:gd name="connsiteY144" fmla="*/ 2862263 h 3722511"/>
              <a:gd name="connsiteX145" fmla="*/ 11744266 w 12305293"/>
              <a:gd name="connsiteY145" fmla="*/ 2858069 h 3722511"/>
              <a:gd name="connsiteX146" fmla="*/ 11744266 w 12305293"/>
              <a:gd name="connsiteY146" fmla="*/ 2593686 h 3722511"/>
              <a:gd name="connsiteX147" fmla="*/ 12059363 w 12305293"/>
              <a:gd name="connsiteY147" fmla="*/ 2593686 h 3722511"/>
              <a:gd name="connsiteX148" fmla="*/ 12059363 w 12305293"/>
              <a:gd name="connsiteY148" fmla="*/ 2023897 h 3722511"/>
              <a:gd name="connsiteX149" fmla="*/ 12305293 w 12305293"/>
              <a:gd name="connsiteY149" fmla="*/ 2023897 h 3722511"/>
              <a:gd name="connsiteX150" fmla="*/ 12305293 w 12305293"/>
              <a:gd name="connsiteY150" fmla="*/ 3577968 h 3722511"/>
              <a:gd name="connsiteX151" fmla="*/ 12305293 w 12305293"/>
              <a:gd name="connsiteY151" fmla="*/ 3722511 h 3722511"/>
              <a:gd name="connsiteX152" fmla="*/ 12213069 w 12305293"/>
              <a:gd name="connsiteY152" fmla="*/ 3722511 h 3722511"/>
              <a:gd name="connsiteX153" fmla="*/ 12213069 w 12305293"/>
              <a:gd name="connsiteY153" fmla="*/ 3713498 h 3722511"/>
              <a:gd name="connsiteX154" fmla="*/ 12213069 w 12305293"/>
              <a:gd name="connsiteY154" fmla="*/ 3575130 h 3722511"/>
              <a:gd name="connsiteX155" fmla="*/ 12212958 w 12305293"/>
              <a:gd name="connsiteY155" fmla="*/ 3575130 h 3722511"/>
              <a:gd name="connsiteX156" fmla="*/ 12212958 w 12305293"/>
              <a:gd name="connsiteY156" fmla="*/ 3722511 h 3722511"/>
              <a:gd name="connsiteX157" fmla="*/ 10750299 w 12305293"/>
              <a:gd name="connsiteY157" fmla="*/ 3722511 h 3722511"/>
              <a:gd name="connsiteX158" fmla="*/ 10750299 w 12305293"/>
              <a:gd name="connsiteY158" fmla="*/ 3665739 h 3722511"/>
              <a:gd name="connsiteX159" fmla="*/ 10750299 w 12305293"/>
              <a:gd name="connsiteY159" fmla="*/ 2395390 h 3722511"/>
              <a:gd name="connsiteX160" fmla="*/ 10834837 w 12305293"/>
              <a:gd name="connsiteY160" fmla="*/ 2440571 h 3722511"/>
              <a:gd name="connsiteX161" fmla="*/ 10834837 w 12305293"/>
              <a:gd name="connsiteY161" fmla="*/ 1903413 h 3722511"/>
              <a:gd name="connsiteX162" fmla="*/ 10982429 w 12305293"/>
              <a:gd name="connsiteY162" fmla="*/ 1903413 h 3722511"/>
              <a:gd name="connsiteX163" fmla="*/ 11053278 w 12305293"/>
              <a:gd name="connsiteY163" fmla="*/ 1903413 h 3722511"/>
              <a:gd name="connsiteX164" fmla="*/ 11242565 w 12305293"/>
              <a:gd name="connsiteY164" fmla="*/ 1611374 h 3722511"/>
              <a:gd name="connsiteX165" fmla="*/ 11124299 w 12305293"/>
              <a:gd name="connsiteY165" fmla="*/ 2086046 h 3722511"/>
              <a:gd name="connsiteX166" fmla="*/ 11124469 w 12305293"/>
              <a:gd name="connsiteY166" fmla="*/ 2086046 h 3722511"/>
              <a:gd name="connsiteX167" fmla="*/ 11125038 w 12305293"/>
              <a:gd name="connsiteY167" fmla="*/ 2083786 h 3722511"/>
              <a:gd name="connsiteX168" fmla="*/ 11170430 w 12305293"/>
              <a:gd name="connsiteY168" fmla="*/ 1903413 h 3722511"/>
              <a:gd name="connsiteX169" fmla="*/ 11226788 w 12305293"/>
              <a:gd name="connsiteY169" fmla="*/ 1903413 h 3722511"/>
              <a:gd name="connsiteX170" fmla="*/ 11226788 w 12305293"/>
              <a:gd name="connsiteY170" fmla="*/ 1918757 h 3722511"/>
              <a:gd name="connsiteX171" fmla="*/ 11226788 w 12305293"/>
              <a:gd name="connsiteY171" fmla="*/ 1932567 h 3722511"/>
              <a:gd name="connsiteX172" fmla="*/ 11237702 w 12305293"/>
              <a:gd name="connsiteY172" fmla="*/ 1930408 h 3722511"/>
              <a:gd name="connsiteX173" fmla="*/ 11317086 w 12305293"/>
              <a:gd name="connsiteY173" fmla="*/ 2008196 h 3722511"/>
              <a:gd name="connsiteX174" fmla="*/ 11237702 w 12305293"/>
              <a:gd name="connsiteY174" fmla="*/ 2085984 h 3722511"/>
              <a:gd name="connsiteX175" fmla="*/ 11226788 w 12305293"/>
              <a:gd name="connsiteY175" fmla="*/ 2083825 h 3722511"/>
              <a:gd name="connsiteX176" fmla="*/ 11226788 w 12305293"/>
              <a:gd name="connsiteY176" fmla="*/ 2086046 h 3722511"/>
              <a:gd name="connsiteX177" fmla="*/ 11362452 w 12305293"/>
              <a:gd name="connsiteY177" fmla="*/ 2086046 h 3722511"/>
              <a:gd name="connsiteX178" fmla="*/ 11242565 w 12305293"/>
              <a:gd name="connsiteY178" fmla="*/ 1611374 h 3722511"/>
              <a:gd name="connsiteX179" fmla="*/ 7558484 w 12305293"/>
              <a:gd name="connsiteY179" fmla="*/ 1533541 h 3722511"/>
              <a:gd name="connsiteX180" fmla="*/ 7642728 w 12305293"/>
              <a:gd name="connsiteY180" fmla="*/ 1533541 h 3722511"/>
              <a:gd name="connsiteX181" fmla="*/ 7642728 w 12305293"/>
              <a:gd name="connsiteY181" fmla="*/ 1544514 h 3722511"/>
              <a:gd name="connsiteX182" fmla="*/ 7642728 w 12305293"/>
              <a:gd name="connsiteY182" fmla="*/ 1579579 h 3722511"/>
              <a:gd name="connsiteX183" fmla="*/ 7642728 w 12305293"/>
              <a:gd name="connsiteY183" fmla="*/ 1581166 h 3722511"/>
              <a:gd name="connsiteX184" fmla="*/ 7642728 w 12305293"/>
              <a:gd name="connsiteY184" fmla="*/ 1622442 h 3722511"/>
              <a:gd name="connsiteX185" fmla="*/ 7642728 w 12305293"/>
              <a:gd name="connsiteY185" fmla="*/ 1627204 h 3722511"/>
              <a:gd name="connsiteX186" fmla="*/ 7642728 w 12305293"/>
              <a:gd name="connsiteY186" fmla="*/ 1666892 h 3722511"/>
              <a:gd name="connsiteX187" fmla="*/ 7642728 w 12305293"/>
              <a:gd name="connsiteY187" fmla="*/ 1670067 h 3722511"/>
              <a:gd name="connsiteX188" fmla="*/ 7642728 w 12305293"/>
              <a:gd name="connsiteY188" fmla="*/ 1712930 h 3722511"/>
              <a:gd name="connsiteX189" fmla="*/ 7642728 w 12305293"/>
              <a:gd name="connsiteY189" fmla="*/ 1714517 h 3722511"/>
              <a:gd name="connsiteX190" fmla="*/ 7642728 w 12305293"/>
              <a:gd name="connsiteY190" fmla="*/ 1757380 h 3722511"/>
              <a:gd name="connsiteX191" fmla="*/ 7642728 w 12305293"/>
              <a:gd name="connsiteY191" fmla="*/ 1760555 h 3722511"/>
              <a:gd name="connsiteX192" fmla="*/ 7642728 w 12305293"/>
              <a:gd name="connsiteY192" fmla="*/ 1803418 h 3722511"/>
              <a:gd name="connsiteX193" fmla="*/ 7642728 w 12305293"/>
              <a:gd name="connsiteY193" fmla="*/ 1805005 h 3722511"/>
              <a:gd name="connsiteX194" fmla="*/ 7642728 w 12305293"/>
              <a:gd name="connsiteY194" fmla="*/ 1847868 h 3722511"/>
              <a:gd name="connsiteX195" fmla="*/ 7642728 w 12305293"/>
              <a:gd name="connsiteY195" fmla="*/ 1851043 h 3722511"/>
              <a:gd name="connsiteX196" fmla="*/ 7642728 w 12305293"/>
              <a:gd name="connsiteY196" fmla="*/ 1892318 h 3722511"/>
              <a:gd name="connsiteX197" fmla="*/ 7642728 w 12305293"/>
              <a:gd name="connsiteY197" fmla="*/ 1895493 h 3722511"/>
              <a:gd name="connsiteX198" fmla="*/ 7642728 w 12305293"/>
              <a:gd name="connsiteY198" fmla="*/ 1941531 h 3722511"/>
              <a:gd name="connsiteX199" fmla="*/ 7558484 w 12305293"/>
              <a:gd name="connsiteY199" fmla="*/ 1941531 h 3722511"/>
              <a:gd name="connsiteX200" fmla="*/ 7558484 w 12305293"/>
              <a:gd name="connsiteY200" fmla="*/ 1895493 h 3722511"/>
              <a:gd name="connsiteX201" fmla="*/ 7558484 w 12305293"/>
              <a:gd name="connsiteY201" fmla="*/ 1892318 h 3722511"/>
              <a:gd name="connsiteX202" fmla="*/ 7558484 w 12305293"/>
              <a:gd name="connsiteY202" fmla="*/ 1851043 h 3722511"/>
              <a:gd name="connsiteX203" fmla="*/ 7558484 w 12305293"/>
              <a:gd name="connsiteY203" fmla="*/ 1847868 h 3722511"/>
              <a:gd name="connsiteX204" fmla="*/ 7558484 w 12305293"/>
              <a:gd name="connsiteY204" fmla="*/ 1805005 h 3722511"/>
              <a:gd name="connsiteX205" fmla="*/ 7558484 w 12305293"/>
              <a:gd name="connsiteY205" fmla="*/ 1803418 h 3722511"/>
              <a:gd name="connsiteX206" fmla="*/ 7558484 w 12305293"/>
              <a:gd name="connsiteY206" fmla="*/ 1760555 h 3722511"/>
              <a:gd name="connsiteX207" fmla="*/ 7558484 w 12305293"/>
              <a:gd name="connsiteY207" fmla="*/ 1757380 h 3722511"/>
              <a:gd name="connsiteX208" fmla="*/ 7558484 w 12305293"/>
              <a:gd name="connsiteY208" fmla="*/ 1714517 h 3722511"/>
              <a:gd name="connsiteX209" fmla="*/ 7558484 w 12305293"/>
              <a:gd name="connsiteY209" fmla="*/ 1712930 h 3722511"/>
              <a:gd name="connsiteX210" fmla="*/ 7558484 w 12305293"/>
              <a:gd name="connsiteY210" fmla="*/ 1670067 h 3722511"/>
              <a:gd name="connsiteX211" fmla="*/ 7558484 w 12305293"/>
              <a:gd name="connsiteY211" fmla="*/ 1666892 h 3722511"/>
              <a:gd name="connsiteX212" fmla="*/ 7558484 w 12305293"/>
              <a:gd name="connsiteY212" fmla="*/ 1627204 h 3722511"/>
              <a:gd name="connsiteX213" fmla="*/ 7558484 w 12305293"/>
              <a:gd name="connsiteY213" fmla="*/ 1622442 h 3722511"/>
              <a:gd name="connsiteX214" fmla="*/ 7558484 w 12305293"/>
              <a:gd name="connsiteY214" fmla="*/ 1581166 h 3722511"/>
              <a:gd name="connsiteX215" fmla="*/ 7558484 w 12305293"/>
              <a:gd name="connsiteY215" fmla="*/ 1579579 h 3722511"/>
              <a:gd name="connsiteX216" fmla="*/ 1989231 w 12305293"/>
              <a:gd name="connsiteY216" fmla="*/ 1441086 h 3722511"/>
              <a:gd name="connsiteX217" fmla="*/ 1988695 w 12305293"/>
              <a:gd name="connsiteY217" fmla="*/ 1452607 h 3722511"/>
              <a:gd name="connsiteX218" fmla="*/ 1988961 w 12305293"/>
              <a:gd name="connsiteY218" fmla="*/ 1446877 h 3722511"/>
              <a:gd name="connsiteX219" fmla="*/ 1990194 w 12305293"/>
              <a:gd name="connsiteY219" fmla="*/ 1420396 h 3722511"/>
              <a:gd name="connsiteX220" fmla="*/ 1989661 w 12305293"/>
              <a:gd name="connsiteY220" fmla="*/ 1431892 h 3722511"/>
              <a:gd name="connsiteX221" fmla="*/ 1989231 w 12305293"/>
              <a:gd name="connsiteY221" fmla="*/ 1441086 h 3722511"/>
              <a:gd name="connsiteX222" fmla="*/ 6080978 w 12305293"/>
              <a:gd name="connsiteY222" fmla="*/ 1368460 h 3722511"/>
              <a:gd name="connsiteX223" fmla="*/ 6121479 w 12305293"/>
              <a:gd name="connsiteY223" fmla="*/ 1368460 h 3722511"/>
              <a:gd name="connsiteX224" fmla="*/ 6121479 w 12305293"/>
              <a:gd name="connsiteY224" fmla="*/ 1812965 h 3722511"/>
              <a:gd name="connsiteX225" fmla="*/ 6080978 w 12305293"/>
              <a:gd name="connsiteY225" fmla="*/ 1812965 h 3722511"/>
              <a:gd name="connsiteX226" fmla="*/ 469822 w 12305293"/>
              <a:gd name="connsiteY226" fmla="*/ 1366890 h 3722511"/>
              <a:gd name="connsiteX227" fmla="*/ 539484 w 12305293"/>
              <a:gd name="connsiteY227" fmla="*/ 1366890 h 3722511"/>
              <a:gd name="connsiteX228" fmla="*/ 539484 w 12305293"/>
              <a:gd name="connsiteY228" fmla="*/ 1369942 h 3722511"/>
              <a:gd name="connsiteX229" fmla="*/ 469822 w 12305293"/>
              <a:gd name="connsiteY229" fmla="*/ 1369942 h 3722511"/>
              <a:gd name="connsiteX230" fmla="*/ 469822 w 12305293"/>
              <a:gd name="connsiteY230" fmla="*/ 1366890 h 3722511"/>
              <a:gd name="connsiteX231" fmla="*/ 1993028 w 12305293"/>
              <a:gd name="connsiteY231" fmla="*/ 1359587 h 3722511"/>
              <a:gd name="connsiteX232" fmla="*/ 1991020 w 12305293"/>
              <a:gd name="connsiteY232" fmla="*/ 1402711 h 3722511"/>
              <a:gd name="connsiteX233" fmla="*/ 1990194 w 12305293"/>
              <a:gd name="connsiteY233" fmla="*/ 1420396 h 3722511"/>
              <a:gd name="connsiteX234" fmla="*/ 10238104 w 12305293"/>
              <a:gd name="connsiteY234" fmla="*/ 1343060 h 3722511"/>
              <a:gd name="connsiteX235" fmla="*/ 10279980 w 12305293"/>
              <a:gd name="connsiteY235" fmla="*/ 1343060 h 3722511"/>
              <a:gd name="connsiteX236" fmla="*/ 10330452 w 12305293"/>
              <a:gd name="connsiteY236" fmla="*/ 1343060 h 3722511"/>
              <a:gd name="connsiteX237" fmla="*/ 10482908 w 12305293"/>
              <a:gd name="connsiteY237" fmla="*/ 1343060 h 3722511"/>
              <a:gd name="connsiteX238" fmla="*/ 10492457 w 12305293"/>
              <a:gd name="connsiteY238" fmla="*/ 1343060 h 3722511"/>
              <a:gd name="connsiteX239" fmla="*/ 10503127 w 12305293"/>
              <a:gd name="connsiteY239" fmla="*/ 1343060 h 3722511"/>
              <a:gd name="connsiteX240" fmla="*/ 10517881 w 12305293"/>
              <a:gd name="connsiteY240" fmla="*/ 1343060 h 3722511"/>
              <a:gd name="connsiteX241" fmla="*/ 10707928 w 12305293"/>
              <a:gd name="connsiteY241" fmla="*/ 1343060 h 3722511"/>
              <a:gd name="connsiteX242" fmla="*/ 10685970 w 12305293"/>
              <a:gd name="connsiteY242" fmla="*/ 2282834 h 3722511"/>
              <a:gd name="connsiteX243" fmla="*/ 10717657 w 12305293"/>
              <a:gd name="connsiteY243" fmla="*/ 2282834 h 3722511"/>
              <a:gd name="connsiteX244" fmla="*/ 10750058 w 12305293"/>
              <a:gd name="connsiteY244" fmla="*/ 2282834 h 3722511"/>
              <a:gd name="connsiteX245" fmla="*/ 10750058 w 12305293"/>
              <a:gd name="connsiteY245" fmla="*/ 3722511 h 3722511"/>
              <a:gd name="connsiteX246" fmla="*/ 10027880 w 12305293"/>
              <a:gd name="connsiteY246" fmla="*/ 3722511 h 3722511"/>
              <a:gd name="connsiteX247" fmla="*/ 10027880 w 12305293"/>
              <a:gd name="connsiteY247" fmla="*/ 3718205 h 3722511"/>
              <a:gd name="connsiteX248" fmla="*/ 10027880 w 12305293"/>
              <a:gd name="connsiteY248" fmla="*/ 3680554 h 3722511"/>
              <a:gd name="connsiteX249" fmla="*/ 10027880 w 12305293"/>
              <a:gd name="connsiteY249" fmla="*/ 3660473 h 3722511"/>
              <a:gd name="connsiteX250" fmla="*/ 10027880 w 12305293"/>
              <a:gd name="connsiteY250" fmla="*/ 3622822 h 3722511"/>
              <a:gd name="connsiteX251" fmla="*/ 10027880 w 12305293"/>
              <a:gd name="connsiteY251" fmla="*/ 3602741 h 3722511"/>
              <a:gd name="connsiteX252" fmla="*/ 10027880 w 12305293"/>
              <a:gd name="connsiteY252" fmla="*/ 3565090 h 3722511"/>
              <a:gd name="connsiteX253" fmla="*/ 10027880 w 12305293"/>
              <a:gd name="connsiteY253" fmla="*/ 3545009 h 3722511"/>
              <a:gd name="connsiteX254" fmla="*/ 10027880 w 12305293"/>
              <a:gd name="connsiteY254" fmla="*/ 3507358 h 3722511"/>
              <a:gd name="connsiteX255" fmla="*/ 10027880 w 12305293"/>
              <a:gd name="connsiteY255" fmla="*/ 3487277 h 3722511"/>
              <a:gd name="connsiteX256" fmla="*/ 10027880 w 12305293"/>
              <a:gd name="connsiteY256" fmla="*/ 3449626 h 3722511"/>
              <a:gd name="connsiteX257" fmla="*/ 10027880 w 12305293"/>
              <a:gd name="connsiteY257" fmla="*/ 3429545 h 3722511"/>
              <a:gd name="connsiteX258" fmla="*/ 10027880 w 12305293"/>
              <a:gd name="connsiteY258" fmla="*/ 3391894 h 3722511"/>
              <a:gd name="connsiteX259" fmla="*/ 10027880 w 12305293"/>
              <a:gd name="connsiteY259" fmla="*/ 3371813 h 3722511"/>
              <a:gd name="connsiteX260" fmla="*/ 10027880 w 12305293"/>
              <a:gd name="connsiteY260" fmla="*/ 3334162 h 3722511"/>
              <a:gd name="connsiteX261" fmla="*/ 10027880 w 12305293"/>
              <a:gd name="connsiteY261" fmla="*/ 3314081 h 3722511"/>
              <a:gd name="connsiteX262" fmla="*/ 10027880 w 12305293"/>
              <a:gd name="connsiteY262" fmla="*/ 3276430 h 3722511"/>
              <a:gd name="connsiteX263" fmla="*/ 10027880 w 12305293"/>
              <a:gd name="connsiteY263" fmla="*/ 3256349 h 3722511"/>
              <a:gd name="connsiteX264" fmla="*/ 10027880 w 12305293"/>
              <a:gd name="connsiteY264" fmla="*/ 3218698 h 3722511"/>
              <a:gd name="connsiteX265" fmla="*/ 10027880 w 12305293"/>
              <a:gd name="connsiteY265" fmla="*/ 3198617 h 3722511"/>
              <a:gd name="connsiteX266" fmla="*/ 10027880 w 12305293"/>
              <a:gd name="connsiteY266" fmla="*/ 3160966 h 3722511"/>
              <a:gd name="connsiteX267" fmla="*/ 10027880 w 12305293"/>
              <a:gd name="connsiteY267" fmla="*/ 3140885 h 3722511"/>
              <a:gd name="connsiteX268" fmla="*/ 10027880 w 12305293"/>
              <a:gd name="connsiteY268" fmla="*/ 3103234 h 3722511"/>
              <a:gd name="connsiteX269" fmla="*/ 10027880 w 12305293"/>
              <a:gd name="connsiteY269" fmla="*/ 3083153 h 3722511"/>
              <a:gd name="connsiteX270" fmla="*/ 10027880 w 12305293"/>
              <a:gd name="connsiteY270" fmla="*/ 3048012 h 3722511"/>
              <a:gd name="connsiteX271" fmla="*/ 10027880 w 12305293"/>
              <a:gd name="connsiteY271" fmla="*/ 3025421 h 3722511"/>
              <a:gd name="connsiteX272" fmla="*/ 10027880 w 12305293"/>
              <a:gd name="connsiteY272" fmla="*/ 2990280 h 3722511"/>
              <a:gd name="connsiteX273" fmla="*/ 10027880 w 12305293"/>
              <a:gd name="connsiteY273" fmla="*/ 2967689 h 3722511"/>
              <a:gd name="connsiteX274" fmla="*/ 10027880 w 12305293"/>
              <a:gd name="connsiteY274" fmla="*/ 2932548 h 3722511"/>
              <a:gd name="connsiteX275" fmla="*/ 10027880 w 12305293"/>
              <a:gd name="connsiteY275" fmla="*/ 2909957 h 3722511"/>
              <a:gd name="connsiteX276" fmla="*/ 10027880 w 12305293"/>
              <a:gd name="connsiteY276" fmla="*/ 2874816 h 3722511"/>
              <a:gd name="connsiteX277" fmla="*/ 10027880 w 12305293"/>
              <a:gd name="connsiteY277" fmla="*/ 2854735 h 3722511"/>
              <a:gd name="connsiteX278" fmla="*/ 10027880 w 12305293"/>
              <a:gd name="connsiteY278" fmla="*/ 2817084 h 3722511"/>
              <a:gd name="connsiteX279" fmla="*/ 10027880 w 12305293"/>
              <a:gd name="connsiteY279" fmla="*/ 2797003 h 3722511"/>
              <a:gd name="connsiteX280" fmla="*/ 10027880 w 12305293"/>
              <a:gd name="connsiteY280" fmla="*/ 2759352 h 3722511"/>
              <a:gd name="connsiteX281" fmla="*/ 10027880 w 12305293"/>
              <a:gd name="connsiteY281" fmla="*/ 2739271 h 3722511"/>
              <a:gd name="connsiteX282" fmla="*/ 10027880 w 12305293"/>
              <a:gd name="connsiteY282" fmla="*/ 2701620 h 3722511"/>
              <a:gd name="connsiteX283" fmla="*/ 10027880 w 12305293"/>
              <a:gd name="connsiteY283" fmla="*/ 2681539 h 3722511"/>
              <a:gd name="connsiteX284" fmla="*/ 10027880 w 12305293"/>
              <a:gd name="connsiteY284" fmla="*/ 2643888 h 3722511"/>
              <a:gd name="connsiteX285" fmla="*/ 10027880 w 12305293"/>
              <a:gd name="connsiteY285" fmla="*/ 2623807 h 3722511"/>
              <a:gd name="connsiteX286" fmla="*/ 10027880 w 12305293"/>
              <a:gd name="connsiteY286" fmla="*/ 2586156 h 3722511"/>
              <a:gd name="connsiteX287" fmla="*/ 10027880 w 12305293"/>
              <a:gd name="connsiteY287" fmla="*/ 2578626 h 3722511"/>
              <a:gd name="connsiteX288" fmla="*/ 10035566 w 12305293"/>
              <a:gd name="connsiteY288" fmla="*/ 2578626 h 3722511"/>
              <a:gd name="connsiteX289" fmla="*/ 10035566 w 12305293"/>
              <a:gd name="connsiteY289" fmla="*/ 2350208 h 3722511"/>
              <a:gd name="connsiteX290" fmla="*/ 10094486 w 12305293"/>
              <a:gd name="connsiteY290" fmla="*/ 2382839 h 3722511"/>
              <a:gd name="connsiteX291" fmla="*/ 10140597 w 12305293"/>
              <a:gd name="connsiteY291" fmla="*/ 3012871 h 3722511"/>
              <a:gd name="connsiteX292" fmla="*/ 10159206 w 12305293"/>
              <a:gd name="connsiteY292" fmla="*/ 3253555 h 3722511"/>
              <a:gd name="connsiteX293" fmla="*/ 10165424 w 12305293"/>
              <a:gd name="connsiteY293" fmla="*/ 3332163 h 3722511"/>
              <a:gd name="connsiteX294" fmla="*/ 10166626 w 12305293"/>
              <a:gd name="connsiteY294" fmla="*/ 3332163 h 3722511"/>
              <a:gd name="connsiteX295" fmla="*/ 10157514 w 12305293"/>
              <a:gd name="connsiteY295" fmla="*/ 3217332 h 3722511"/>
              <a:gd name="connsiteX296" fmla="*/ 10141602 w 12305293"/>
              <a:gd name="connsiteY296" fmla="*/ 3012633 h 3722511"/>
              <a:gd name="connsiteX297" fmla="*/ 10033975 w 12305293"/>
              <a:gd name="connsiteY297" fmla="*/ 1355613 h 3722511"/>
              <a:gd name="connsiteX298" fmla="*/ 10198779 w 12305293"/>
              <a:gd name="connsiteY298" fmla="*/ 1347203 h 3722511"/>
              <a:gd name="connsiteX299" fmla="*/ 10238237 w 12305293"/>
              <a:gd name="connsiteY299" fmla="*/ 1345190 h 3722511"/>
              <a:gd name="connsiteX300" fmla="*/ 1994366 w 12305293"/>
              <a:gd name="connsiteY300" fmla="*/ 1330892 h 3722511"/>
              <a:gd name="connsiteX301" fmla="*/ 1993028 w 12305293"/>
              <a:gd name="connsiteY301" fmla="*/ 1359587 h 3722511"/>
              <a:gd name="connsiteX302" fmla="*/ 1993260 w 12305293"/>
              <a:gd name="connsiteY302" fmla="*/ 1354601 h 3722511"/>
              <a:gd name="connsiteX303" fmla="*/ 1995072 w 12305293"/>
              <a:gd name="connsiteY303" fmla="*/ 1315726 h 3722511"/>
              <a:gd name="connsiteX304" fmla="*/ 1994366 w 12305293"/>
              <a:gd name="connsiteY304" fmla="*/ 1330892 h 3722511"/>
              <a:gd name="connsiteX305" fmla="*/ 1994877 w 12305293"/>
              <a:gd name="connsiteY305" fmla="*/ 1319899 h 3722511"/>
              <a:gd name="connsiteX306" fmla="*/ 7742458 w 12305293"/>
              <a:gd name="connsiteY306" fmla="*/ 1257859 h 3722511"/>
              <a:gd name="connsiteX307" fmla="*/ 7742458 w 12305293"/>
              <a:gd name="connsiteY307" fmla="*/ 1280490 h 3722511"/>
              <a:gd name="connsiteX308" fmla="*/ 7803830 w 12305293"/>
              <a:gd name="connsiteY308" fmla="*/ 1280490 h 3722511"/>
              <a:gd name="connsiteX309" fmla="*/ 7803830 w 12305293"/>
              <a:gd name="connsiteY309" fmla="*/ 1257859 h 3722511"/>
              <a:gd name="connsiteX310" fmla="*/ 7742458 w 12305293"/>
              <a:gd name="connsiteY310" fmla="*/ 1257859 h 3722511"/>
              <a:gd name="connsiteX311" fmla="*/ 2001078 w 12305293"/>
              <a:gd name="connsiteY311" fmla="*/ 1186842 h 3722511"/>
              <a:gd name="connsiteX312" fmla="*/ 1996607 w 12305293"/>
              <a:gd name="connsiteY312" fmla="*/ 1282831 h 3722511"/>
              <a:gd name="connsiteX313" fmla="*/ 1995072 w 12305293"/>
              <a:gd name="connsiteY313" fmla="*/ 1315726 h 3722511"/>
              <a:gd name="connsiteX314" fmla="*/ 1999545 w 12305293"/>
              <a:gd name="connsiteY314" fmla="*/ 1219737 h 3722511"/>
              <a:gd name="connsiteX315" fmla="*/ 2001785 w 12305293"/>
              <a:gd name="connsiteY315" fmla="*/ 1171676 h 3722511"/>
              <a:gd name="connsiteX316" fmla="*/ 2001078 w 12305293"/>
              <a:gd name="connsiteY316" fmla="*/ 1186842 h 3722511"/>
              <a:gd name="connsiteX317" fmla="*/ 2001271 w 12305293"/>
              <a:gd name="connsiteY317" fmla="*/ 1182669 h 3722511"/>
              <a:gd name="connsiteX318" fmla="*/ 2003121 w 12305293"/>
              <a:gd name="connsiteY318" fmla="*/ 1142981 h 3722511"/>
              <a:gd name="connsiteX319" fmla="*/ 2002889 w 12305293"/>
              <a:gd name="connsiteY319" fmla="*/ 1147967 h 3722511"/>
              <a:gd name="connsiteX320" fmla="*/ 2001785 w 12305293"/>
              <a:gd name="connsiteY320" fmla="*/ 1171676 h 3722511"/>
              <a:gd name="connsiteX321" fmla="*/ 262344 w 12305293"/>
              <a:gd name="connsiteY321" fmla="*/ 1113683 h 3722511"/>
              <a:gd name="connsiteX322" fmla="*/ 261655 w 12305293"/>
              <a:gd name="connsiteY322" fmla="*/ 1116779 h 3722511"/>
              <a:gd name="connsiteX323" fmla="*/ 261674 w 12305293"/>
              <a:gd name="connsiteY323" fmla="*/ 1116690 h 3722511"/>
              <a:gd name="connsiteX324" fmla="*/ 267151 w 12305293"/>
              <a:gd name="connsiteY324" fmla="*/ 1092123 h 3722511"/>
              <a:gd name="connsiteX325" fmla="*/ 262344 w 12305293"/>
              <a:gd name="connsiteY325" fmla="*/ 1113683 h 3722511"/>
              <a:gd name="connsiteX326" fmla="*/ 263380 w 12305293"/>
              <a:gd name="connsiteY326" fmla="*/ 1109036 h 3722511"/>
              <a:gd name="connsiteX327" fmla="*/ 270308 w 12305293"/>
              <a:gd name="connsiteY327" fmla="*/ 1077963 h 3722511"/>
              <a:gd name="connsiteX328" fmla="*/ 268012 w 12305293"/>
              <a:gd name="connsiteY328" fmla="*/ 1088260 h 3722511"/>
              <a:gd name="connsiteX329" fmla="*/ 267151 w 12305293"/>
              <a:gd name="connsiteY329" fmla="*/ 1092123 h 3722511"/>
              <a:gd name="connsiteX330" fmla="*/ 272169 w 12305293"/>
              <a:gd name="connsiteY330" fmla="*/ 1069613 h 3722511"/>
              <a:gd name="connsiteX331" fmla="*/ 270308 w 12305293"/>
              <a:gd name="connsiteY331" fmla="*/ 1077963 h 3722511"/>
              <a:gd name="connsiteX332" fmla="*/ 270449 w 12305293"/>
              <a:gd name="connsiteY332" fmla="*/ 1077325 h 3722511"/>
              <a:gd name="connsiteX333" fmla="*/ 276117 w 12305293"/>
              <a:gd name="connsiteY333" fmla="*/ 1051901 h 3722511"/>
              <a:gd name="connsiteX334" fmla="*/ 272169 w 12305293"/>
              <a:gd name="connsiteY334" fmla="*/ 1069613 h 3722511"/>
              <a:gd name="connsiteX335" fmla="*/ 275081 w 12305293"/>
              <a:gd name="connsiteY335" fmla="*/ 1056549 h 3722511"/>
              <a:gd name="connsiteX336" fmla="*/ 277031 w 12305293"/>
              <a:gd name="connsiteY336" fmla="*/ 1047801 h 3722511"/>
              <a:gd name="connsiteX337" fmla="*/ 276117 w 12305293"/>
              <a:gd name="connsiteY337" fmla="*/ 1051901 h 3722511"/>
              <a:gd name="connsiteX338" fmla="*/ 276787 w 12305293"/>
              <a:gd name="connsiteY338" fmla="*/ 1048894 h 3722511"/>
              <a:gd name="connsiteX339" fmla="*/ 277031 w 12305293"/>
              <a:gd name="connsiteY339" fmla="*/ 1047801 h 3722511"/>
              <a:gd name="connsiteX340" fmla="*/ 4155691 w 12305293"/>
              <a:gd name="connsiteY340" fmla="*/ 1041533 h 3722511"/>
              <a:gd name="connsiteX341" fmla="*/ 4025446 w 12305293"/>
              <a:gd name="connsiteY341" fmla="*/ 1226214 h 3722511"/>
              <a:gd name="connsiteX342" fmla="*/ 4022567 w 12305293"/>
              <a:gd name="connsiteY342" fmla="*/ 1230359 h 3722511"/>
              <a:gd name="connsiteX343" fmla="*/ 4178028 w 12305293"/>
              <a:gd name="connsiteY343" fmla="*/ 1230359 h 3722511"/>
              <a:gd name="connsiteX344" fmla="*/ 4178028 w 12305293"/>
              <a:gd name="connsiteY344" fmla="*/ 1227498 h 3722511"/>
              <a:gd name="connsiteX345" fmla="*/ 4178028 w 12305293"/>
              <a:gd name="connsiteY345" fmla="*/ 1103769 h 3722511"/>
              <a:gd name="connsiteX346" fmla="*/ 4178028 w 12305293"/>
              <a:gd name="connsiteY346" fmla="*/ 1041533 h 3722511"/>
              <a:gd name="connsiteX347" fmla="*/ 4200732 w 12305293"/>
              <a:gd name="connsiteY347" fmla="*/ 1041446 h 3722511"/>
              <a:gd name="connsiteX348" fmla="*/ 4200732 w 12305293"/>
              <a:gd name="connsiteY348" fmla="*/ 1074529 h 3722511"/>
              <a:gd name="connsiteX349" fmla="*/ 4200732 w 12305293"/>
              <a:gd name="connsiteY349" fmla="*/ 1227947 h 3722511"/>
              <a:gd name="connsiteX350" fmla="*/ 4200732 w 12305293"/>
              <a:gd name="connsiteY350" fmla="*/ 1230359 h 3722511"/>
              <a:gd name="connsiteX351" fmla="*/ 4356259 w 12305293"/>
              <a:gd name="connsiteY351" fmla="*/ 1230359 h 3722511"/>
              <a:gd name="connsiteX352" fmla="*/ 4223030 w 12305293"/>
              <a:gd name="connsiteY352" fmla="*/ 1041446 h 3722511"/>
              <a:gd name="connsiteX353" fmla="*/ 279512 w 12305293"/>
              <a:gd name="connsiteY353" fmla="*/ 1038124 h 3722511"/>
              <a:gd name="connsiteX354" fmla="*/ 277037 w 12305293"/>
              <a:gd name="connsiteY354" fmla="*/ 1047770 h 3722511"/>
              <a:gd name="connsiteX355" fmla="*/ 278206 w 12305293"/>
              <a:gd name="connsiteY355" fmla="*/ 1043211 h 3722511"/>
              <a:gd name="connsiteX356" fmla="*/ 283918 w 12305293"/>
              <a:gd name="connsiteY356" fmla="*/ 1020948 h 3722511"/>
              <a:gd name="connsiteX357" fmla="*/ 280984 w 12305293"/>
              <a:gd name="connsiteY357" fmla="*/ 1032385 h 3722511"/>
              <a:gd name="connsiteX358" fmla="*/ 279512 w 12305293"/>
              <a:gd name="connsiteY358" fmla="*/ 1038124 h 3722511"/>
              <a:gd name="connsiteX359" fmla="*/ 282446 w 12305293"/>
              <a:gd name="connsiteY359" fmla="*/ 1026687 h 3722511"/>
              <a:gd name="connsiteX360" fmla="*/ 286393 w 12305293"/>
              <a:gd name="connsiteY360" fmla="*/ 1011302 h 3722511"/>
              <a:gd name="connsiteX361" fmla="*/ 283918 w 12305293"/>
              <a:gd name="connsiteY361" fmla="*/ 1020948 h 3722511"/>
              <a:gd name="connsiteX362" fmla="*/ 285224 w 12305293"/>
              <a:gd name="connsiteY362" fmla="*/ 1015860 h 3722511"/>
              <a:gd name="connsiteX363" fmla="*/ 286393 w 12305293"/>
              <a:gd name="connsiteY363" fmla="*/ 1011302 h 3722511"/>
              <a:gd name="connsiteX364" fmla="*/ 330494 w 12305293"/>
              <a:gd name="connsiteY364" fmla="*/ 611237 h 3722511"/>
              <a:gd name="connsiteX365" fmla="*/ 330494 w 12305293"/>
              <a:gd name="connsiteY365" fmla="*/ 611238 h 3722511"/>
              <a:gd name="connsiteX366" fmla="*/ 330494 w 12305293"/>
              <a:gd name="connsiteY366" fmla="*/ 611436 h 3722511"/>
              <a:gd name="connsiteX367" fmla="*/ 330499 w 12305293"/>
              <a:gd name="connsiteY367" fmla="*/ 611352 h 3722511"/>
              <a:gd name="connsiteX368" fmla="*/ 330499 w 12305293"/>
              <a:gd name="connsiteY368" fmla="*/ 611249 h 3722511"/>
              <a:gd name="connsiteX369" fmla="*/ 330499 w 12305293"/>
              <a:gd name="connsiteY369" fmla="*/ 611248 h 3722511"/>
              <a:gd name="connsiteX370" fmla="*/ 330502 w 12305293"/>
              <a:gd name="connsiteY370" fmla="*/ 611300 h 3722511"/>
              <a:gd name="connsiteX371" fmla="*/ 330505 w 12305293"/>
              <a:gd name="connsiteY371" fmla="*/ 611248 h 3722511"/>
              <a:gd name="connsiteX372" fmla="*/ 352084 w 12305293"/>
              <a:gd name="connsiteY372" fmla="*/ 976364 h 3722511"/>
              <a:gd name="connsiteX373" fmla="*/ 376781 w 12305293"/>
              <a:gd name="connsiteY373" fmla="*/ 976364 h 3722511"/>
              <a:gd name="connsiteX374" fmla="*/ 389509 w 12305293"/>
              <a:gd name="connsiteY374" fmla="*/ 980730 h 3722511"/>
              <a:gd name="connsiteX375" fmla="*/ 389514 w 12305293"/>
              <a:gd name="connsiteY375" fmla="*/ 980739 h 3722511"/>
              <a:gd name="connsiteX376" fmla="*/ 389523 w 12305293"/>
              <a:gd name="connsiteY376" fmla="*/ 980742 h 3722511"/>
              <a:gd name="connsiteX377" fmla="*/ 395301 w 12305293"/>
              <a:gd name="connsiteY377" fmla="*/ 992251 h 3722511"/>
              <a:gd name="connsiteX378" fmla="*/ 376809 w 12305293"/>
              <a:gd name="connsiteY378" fmla="*/ 1011301 h 3722511"/>
              <a:gd name="connsiteX379" fmla="*/ 375056 w 12305293"/>
              <a:gd name="connsiteY379" fmla="*/ 1011301 h 3722511"/>
              <a:gd name="connsiteX380" fmla="*/ 401934 w 12305293"/>
              <a:gd name="connsiteY380" fmla="*/ 1116657 h 3722511"/>
              <a:gd name="connsiteX381" fmla="*/ 405245 w 12305293"/>
              <a:gd name="connsiteY381" fmla="*/ 1118808 h 3722511"/>
              <a:gd name="connsiteX382" fmla="*/ 435807 w 12305293"/>
              <a:gd name="connsiteY382" fmla="*/ 1189675 h 3722511"/>
              <a:gd name="connsiteX383" fmla="*/ 435807 w 12305293"/>
              <a:gd name="connsiteY383" fmla="*/ 1196152 h 3722511"/>
              <a:gd name="connsiteX384" fmla="*/ 435807 w 12305293"/>
              <a:gd name="connsiteY384" fmla="*/ 1206451 h 3722511"/>
              <a:gd name="connsiteX385" fmla="*/ 442661 w 12305293"/>
              <a:gd name="connsiteY385" fmla="*/ 1216485 h 3722511"/>
              <a:gd name="connsiteX386" fmla="*/ 452008 w 12305293"/>
              <a:gd name="connsiteY386" fmla="*/ 1263232 h 3722511"/>
              <a:gd name="connsiteX387" fmla="*/ 452008 w 12305293"/>
              <a:gd name="connsiteY387" fmla="*/ 1270833 h 3722511"/>
              <a:gd name="connsiteX388" fmla="*/ 452008 w 12305293"/>
              <a:gd name="connsiteY388" fmla="*/ 1283145 h 3722511"/>
              <a:gd name="connsiteX389" fmla="*/ 456130 w 12305293"/>
              <a:gd name="connsiteY389" fmla="*/ 1289231 h 3722511"/>
              <a:gd name="connsiteX390" fmla="*/ 466582 w 12305293"/>
              <a:gd name="connsiteY390" fmla="*/ 1342376 h 3722511"/>
              <a:gd name="connsiteX391" fmla="*/ 466582 w 12305293"/>
              <a:gd name="connsiteY391" fmla="*/ 1342612 h 3722511"/>
              <a:gd name="connsiteX392" fmla="*/ 466587 w 12305293"/>
              <a:gd name="connsiteY392" fmla="*/ 1342642 h 3722511"/>
              <a:gd name="connsiteX393" fmla="*/ 466587 w 12305293"/>
              <a:gd name="connsiteY393" fmla="*/ 1351430 h 3722511"/>
              <a:gd name="connsiteX394" fmla="*/ 466587 w 12305293"/>
              <a:gd name="connsiteY394" fmla="*/ 1363960 h 3722511"/>
              <a:gd name="connsiteX395" fmla="*/ 469767 w 12305293"/>
              <a:gd name="connsiteY395" fmla="*/ 1370080 h 3722511"/>
              <a:gd name="connsiteX396" fmla="*/ 469822 w 12305293"/>
              <a:gd name="connsiteY396" fmla="*/ 1370080 h 3722511"/>
              <a:gd name="connsiteX397" fmla="*/ 469825 w 12305293"/>
              <a:gd name="connsiteY397" fmla="*/ 1370080 h 3722511"/>
              <a:gd name="connsiteX398" fmla="*/ 469822 w 12305293"/>
              <a:gd name="connsiteY398" fmla="*/ 1370065 h 3722511"/>
              <a:gd name="connsiteX399" fmla="*/ 539484 w 12305293"/>
              <a:gd name="connsiteY399" fmla="*/ 1370065 h 3722511"/>
              <a:gd name="connsiteX400" fmla="*/ 539484 w 12305293"/>
              <a:gd name="connsiteY400" fmla="*/ 1370080 h 3722511"/>
              <a:gd name="connsiteX401" fmla="*/ 539486 w 12305293"/>
              <a:gd name="connsiteY401" fmla="*/ 1370080 h 3722511"/>
              <a:gd name="connsiteX402" fmla="*/ 539486 w 12305293"/>
              <a:gd name="connsiteY402" fmla="*/ 1681233 h 3722511"/>
              <a:gd name="connsiteX403" fmla="*/ 588084 w 12305293"/>
              <a:gd name="connsiteY403" fmla="*/ 1681233 h 3722511"/>
              <a:gd name="connsiteX404" fmla="*/ 588085 w 12305293"/>
              <a:gd name="connsiteY404" fmla="*/ 1681233 h 3722511"/>
              <a:gd name="connsiteX405" fmla="*/ 588091 w 12305293"/>
              <a:gd name="connsiteY405" fmla="*/ 1681233 h 3722511"/>
              <a:gd name="connsiteX406" fmla="*/ 588091 w 12305293"/>
              <a:gd name="connsiteY406" fmla="*/ 3602100 h 3722511"/>
              <a:gd name="connsiteX407" fmla="*/ 662607 w 12305293"/>
              <a:gd name="connsiteY407" fmla="*/ 3602100 h 3722511"/>
              <a:gd name="connsiteX408" fmla="*/ 662607 w 12305293"/>
              <a:gd name="connsiteY408" fmla="*/ 3602126 h 3722511"/>
              <a:gd name="connsiteX409" fmla="*/ 662610 w 12305293"/>
              <a:gd name="connsiteY409" fmla="*/ 3602126 h 3722511"/>
              <a:gd name="connsiteX410" fmla="*/ 662610 w 12305293"/>
              <a:gd name="connsiteY410" fmla="*/ 3722511 h 3722511"/>
              <a:gd name="connsiteX411" fmla="*/ 0 w 12305293"/>
              <a:gd name="connsiteY411" fmla="*/ 3722511 h 3722511"/>
              <a:gd name="connsiteX412" fmla="*/ 0 w 12305293"/>
              <a:gd name="connsiteY412" fmla="*/ 3602100 h 3722511"/>
              <a:gd name="connsiteX413" fmla="*/ 1 w 12305293"/>
              <a:gd name="connsiteY413" fmla="*/ 3602100 h 3722511"/>
              <a:gd name="connsiteX414" fmla="*/ 76146 w 12305293"/>
              <a:gd name="connsiteY414" fmla="*/ 3602100 h 3722511"/>
              <a:gd name="connsiteX415" fmla="*/ 76146 w 12305293"/>
              <a:gd name="connsiteY415" fmla="*/ 3552888 h 3722511"/>
              <a:gd name="connsiteX416" fmla="*/ 76142 w 12305293"/>
              <a:gd name="connsiteY416" fmla="*/ 3552888 h 3722511"/>
              <a:gd name="connsiteX417" fmla="*/ 76142 w 12305293"/>
              <a:gd name="connsiteY417" fmla="*/ 3508438 h 3722511"/>
              <a:gd name="connsiteX418" fmla="*/ 76146 w 12305293"/>
              <a:gd name="connsiteY418" fmla="*/ 3508438 h 3722511"/>
              <a:gd name="connsiteX419" fmla="*/ 76146 w 12305293"/>
              <a:gd name="connsiteY419" fmla="*/ 3443350 h 3722511"/>
              <a:gd name="connsiteX420" fmla="*/ 76142 w 12305293"/>
              <a:gd name="connsiteY420" fmla="*/ 3443350 h 3722511"/>
              <a:gd name="connsiteX421" fmla="*/ 76142 w 12305293"/>
              <a:gd name="connsiteY421" fmla="*/ 3397312 h 3722511"/>
              <a:gd name="connsiteX422" fmla="*/ 76146 w 12305293"/>
              <a:gd name="connsiteY422" fmla="*/ 3397312 h 3722511"/>
              <a:gd name="connsiteX423" fmla="*/ 76146 w 12305293"/>
              <a:gd name="connsiteY423" fmla="*/ 3333812 h 3722511"/>
              <a:gd name="connsiteX424" fmla="*/ 76144 w 12305293"/>
              <a:gd name="connsiteY424" fmla="*/ 3333812 h 3722511"/>
              <a:gd name="connsiteX425" fmla="*/ 76144 w 12305293"/>
              <a:gd name="connsiteY425" fmla="*/ 3284599 h 3722511"/>
              <a:gd name="connsiteX426" fmla="*/ 76146 w 12305293"/>
              <a:gd name="connsiteY426" fmla="*/ 3284599 h 3722511"/>
              <a:gd name="connsiteX427" fmla="*/ 76146 w 12305293"/>
              <a:gd name="connsiteY427" fmla="*/ 3221099 h 3722511"/>
              <a:gd name="connsiteX428" fmla="*/ 76144 w 12305293"/>
              <a:gd name="connsiteY428" fmla="*/ 3221099 h 3722511"/>
              <a:gd name="connsiteX429" fmla="*/ 76144 w 12305293"/>
              <a:gd name="connsiteY429" fmla="*/ 3175061 h 3722511"/>
              <a:gd name="connsiteX430" fmla="*/ 76146 w 12305293"/>
              <a:gd name="connsiteY430" fmla="*/ 3175061 h 3722511"/>
              <a:gd name="connsiteX431" fmla="*/ 76146 w 12305293"/>
              <a:gd name="connsiteY431" fmla="*/ 3111561 h 3722511"/>
              <a:gd name="connsiteX432" fmla="*/ 76144 w 12305293"/>
              <a:gd name="connsiteY432" fmla="*/ 3111561 h 3722511"/>
              <a:gd name="connsiteX433" fmla="*/ 76144 w 12305293"/>
              <a:gd name="connsiteY433" fmla="*/ 3065523 h 3722511"/>
              <a:gd name="connsiteX434" fmla="*/ 76146 w 12305293"/>
              <a:gd name="connsiteY434" fmla="*/ 3065523 h 3722511"/>
              <a:gd name="connsiteX435" fmla="*/ 76146 w 12305293"/>
              <a:gd name="connsiteY435" fmla="*/ 3002023 h 3722511"/>
              <a:gd name="connsiteX436" fmla="*/ 76144 w 12305293"/>
              <a:gd name="connsiteY436" fmla="*/ 3002023 h 3722511"/>
              <a:gd name="connsiteX437" fmla="*/ 76144 w 12305293"/>
              <a:gd name="connsiteY437" fmla="*/ 2955985 h 3722511"/>
              <a:gd name="connsiteX438" fmla="*/ 76146 w 12305293"/>
              <a:gd name="connsiteY438" fmla="*/ 2955985 h 3722511"/>
              <a:gd name="connsiteX439" fmla="*/ 76146 w 12305293"/>
              <a:gd name="connsiteY439" fmla="*/ 2892485 h 3722511"/>
              <a:gd name="connsiteX440" fmla="*/ 76144 w 12305293"/>
              <a:gd name="connsiteY440" fmla="*/ 2892485 h 3722511"/>
              <a:gd name="connsiteX441" fmla="*/ 76144 w 12305293"/>
              <a:gd name="connsiteY441" fmla="*/ 2846447 h 3722511"/>
              <a:gd name="connsiteX442" fmla="*/ 76146 w 12305293"/>
              <a:gd name="connsiteY442" fmla="*/ 2846447 h 3722511"/>
              <a:gd name="connsiteX443" fmla="*/ 76146 w 12305293"/>
              <a:gd name="connsiteY443" fmla="*/ 2781359 h 3722511"/>
              <a:gd name="connsiteX444" fmla="*/ 76144 w 12305293"/>
              <a:gd name="connsiteY444" fmla="*/ 2781359 h 3722511"/>
              <a:gd name="connsiteX445" fmla="*/ 76144 w 12305293"/>
              <a:gd name="connsiteY445" fmla="*/ 2733734 h 3722511"/>
              <a:gd name="connsiteX446" fmla="*/ 76146 w 12305293"/>
              <a:gd name="connsiteY446" fmla="*/ 2733734 h 3722511"/>
              <a:gd name="connsiteX447" fmla="*/ 76146 w 12305293"/>
              <a:gd name="connsiteY447" fmla="*/ 2668646 h 3722511"/>
              <a:gd name="connsiteX448" fmla="*/ 76144 w 12305293"/>
              <a:gd name="connsiteY448" fmla="*/ 2668646 h 3722511"/>
              <a:gd name="connsiteX449" fmla="*/ 76144 w 12305293"/>
              <a:gd name="connsiteY449" fmla="*/ 2624196 h 3722511"/>
              <a:gd name="connsiteX450" fmla="*/ 76146 w 12305293"/>
              <a:gd name="connsiteY450" fmla="*/ 2624196 h 3722511"/>
              <a:gd name="connsiteX451" fmla="*/ 76146 w 12305293"/>
              <a:gd name="connsiteY451" fmla="*/ 2559109 h 3722511"/>
              <a:gd name="connsiteX452" fmla="*/ 76145 w 12305293"/>
              <a:gd name="connsiteY452" fmla="*/ 2559109 h 3722511"/>
              <a:gd name="connsiteX453" fmla="*/ 76145 w 12305293"/>
              <a:gd name="connsiteY453" fmla="*/ 2513071 h 3722511"/>
              <a:gd name="connsiteX454" fmla="*/ 76146 w 12305293"/>
              <a:gd name="connsiteY454" fmla="*/ 2513071 h 3722511"/>
              <a:gd name="connsiteX455" fmla="*/ 76146 w 12305293"/>
              <a:gd name="connsiteY455" fmla="*/ 2449571 h 3722511"/>
              <a:gd name="connsiteX456" fmla="*/ 76145 w 12305293"/>
              <a:gd name="connsiteY456" fmla="*/ 2449571 h 3722511"/>
              <a:gd name="connsiteX457" fmla="*/ 76145 w 12305293"/>
              <a:gd name="connsiteY457" fmla="*/ 2403533 h 3722511"/>
              <a:gd name="connsiteX458" fmla="*/ 76146 w 12305293"/>
              <a:gd name="connsiteY458" fmla="*/ 2403533 h 3722511"/>
              <a:gd name="connsiteX459" fmla="*/ 76146 w 12305293"/>
              <a:gd name="connsiteY459" fmla="*/ 2340033 h 3722511"/>
              <a:gd name="connsiteX460" fmla="*/ 76145 w 12305293"/>
              <a:gd name="connsiteY460" fmla="*/ 2340033 h 3722511"/>
              <a:gd name="connsiteX461" fmla="*/ 76145 w 12305293"/>
              <a:gd name="connsiteY461" fmla="*/ 2290820 h 3722511"/>
              <a:gd name="connsiteX462" fmla="*/ 76146 w 12305293"/>
              <a:gd name="connsiteY462" fmla="*/ 2290820 h 3722511"/>
              <a:gd name="connsiteX463" fmla="*/ 76146 w 12305293"/>
              <a:gd name="connsiteY463" fmla="*/ 2230495 h 3722511"/>
              <a:gd name="connsiteX464" fmla="*/ 76145 w 12305293"/>
              <a:gd name="connsiteY464" fmla="*/ 2230495 h 3722511"/>
              <a:gd name="connsiteX465" fmla="*/ 76145 w 12305293"/>
              <a:gd name="connsiteY465" fmla="*/ 2181282 h 3722511"/>
              <a:gd name="connsiteX466" fmla="*/ 76146 w 12305293"/>
              <a:gd name="connsiteY466" fmla="*/ 2181282 h 3722511"/>
              <a:gd name="connsiteX467" fmla="*/ 76146 w 12305293"/>
              <a:gd name="connsiteY467" fmla="*/ 2117782 h 3722511"/>
              <a:gd name="connsiteX468" fmla="*/ 76145 w 12305293"/>
              <a:gd name="connsiteY468" fmla="*/ 2117782 h 3722511"/>
              <a:gd name="connsiteX469" fmla="*/ 76145 w 12305293"/>
              <a:gd name="connsiteY469" fmla="*/ 2071744 h 3722511"/>
              <a:gd name="connsiteX470" fmla="*/ 76146 w 12305293"/>
              <a:gd name="connsiteY470" fmla="*/ 2071744 h 3722511"/>
              <a:gd name="connsiteX471" fmla="*/ 76146 w 12305293"/>
              <a:gd name="connsiteY471" fmla="*/ 2008244 h 3722511"/>
              <a:gd name="connsiteX472" fmla="*/ 76145 w 12305293"/>
              <a:gd name="connsiteY472" fmla="*/ 2008244 h 3722511"/>
              <a:gd name="connsiteX473" fmla="*/ 76145 w 12305293"/>
              <a:gd name="connsiteY473" fmla="*/ 1962206 h 3722511"/>
              <a:gd name="connsiteX474" fmla="*/ 76146 w 12305293"/>
              <a:gd name="connsiteY474" fmla="*/ 1962206 h 3722511"/>
              <a:gd name="connsiteX475" fmla="*/ 76146 w 12305293"/>
              <a:gd name="connsiteY475" fmla="*/ 1897118 h 3722511"/>
              <a:gd name="connsiteX476" fmla="*/ 76146 w 12305293"/>
              <a:gd name="connsiteY476" fmla="*/ 1852668 h 3722511"/>
              <a:gd name="connsiteX477" fmla="*/ 76146 w 12305293"/>
              <a:gd name="connsiteY477" fmla="*/ 1787580 h 3722511"/>
              <a:gd name="connsiteX478" fmla="*/ 76146 w 12305293"/>
              <a:gd name="connsiteY478" fmla="*/ 1739955 h 3722511"/>
              <a:gd name="connsiteX479" fmla="*/ 76146 w 12305293"/>
              <a:gd name="connsiteY479" fmla="*/ 1681217 h 3722511"/>
              <a:gd name="connsiteX480" fmla="*/ 124756 w 12305293"/>
              <a:gd name="connsiteY480" fmla="*/ 1681217 h 3722511"/>
              <a:gd name="connsiteX481" fmla="*/ 124756 w 12305293"/>
              <a:gd name="connsiteY481" fmla="*/ 1681216 h 3722511"/>
              <a:gd name="connsiteX482" fmla="*/ 124744 w 12305293"/>
              <a:gd name="connsiteY482" fmla="*/ 1681216 h 3722511"/>
              <a:gd name="connsiteX483" fmla="*/ 124744 w 12305293"/>
              <a:gd name="connsiteY483" fmla="*/ 1370065 h 3722511"/>
              <a:gd name="connsiteX484" fmla="*/ 192785 w 12305293"/>
              <a:gd name="connsiteY484" fmla="*/ 1370065 h 3722511"/>
              <a:gd name="connsiteX485" fmla="*/ 192780 w 12305293"/>
              <a:gd name="connsiteY485" fmla="*/ 1370080 h 3722511"/>
              <a:gd name="connsiteX486" fmla="*/ 192790 w 12305293"/>
              <a:gd name="connsiteY486" fmla="*/ 1370080 h 3722511"/>
              <a:gd name="connsiteX487" fmla="*/ 192801 w 12305293"/>
              <a:gd name="connsiteY487" fmla="*/ 1370080 h 3722511"/>
              <a:gd name="connsiteX488" fmla="*/ 192801 w 12305293"/>
              <a:gd name="connsiteY488" fmla="*/ 1363694 h 3722511"/>
              <a:gd name="connsiteX489" fmla="*/ 192789 w 12305293"/>
              <a:gd name="connsiteY489" fmla="*/ 1363716 h 3722511"/>
              <a:gd name="connsiteX490" fmla="*/ 192789 w 12305293"/>
              <a:gd name="connsiteY490" fmla="*/ 1342362 h 3722511"/>
              <a:gd name="connsiteX491" fmla="*/ 192789 w 12305293"/>
              <a:gd name="connsiteY491" fmla="*/ 1339312 h 3722511"/>
              <a:gd name="connsiteX492" fmla="*/ 196212 w 12305293"/>
              <a:gd name="connsiteY492" fmla="*/ 1325964 h 3722511"/>
              <a:gd name="connsiteX493" fmla="*/ 196251 w 12305293"/>
              <a:gd name="connsiteY493" fmla="*/ 1325773 h 3722511"/>
              <a:gd name="connsiteX494" fmla="*/ 203690 w 12305293"/>
              <a:gd name="connsiteY494" fmla="*/ 1289391 h 3722511"/>
              <a:gd name="connsiteX495" fmla="*/ 206597 w 12305293"/>
              <a:gd name="connsiteY495" fmla="*/ 1285198 h 3722511"/>
              <a:gd name="connsiteX496" fmla="*/ 206710 w 12305293"/>
              <a:gd name="connsiteY496" fmla="*/ 1285035 h 3722511"/>
              <a:gd name="connsiteX497" fmla="*/ 208437 w 12305293"/>
              <a:gd name="connsiteY497" fmla="*/ 1278302 h 3722511"/>
              <a:gd name="connsiteX498" fmla="*/ 208990 w 12305293"/>
              <a:gd name="connsiteY498" fmla="*/ 1277578 h 3722511"/>
              <a:gd name="connsiteX499" fmla="*/ 208990 w 12305293"/>
              <a:gd name="connsiteY499" fmla="*/ 1264243 h 3722511"/>
              <a:gd name="connsiteX500" fmla="*/ 208990 w 12305293"/>
              <a:gd name="connsiteY500" fmla="*/ 1261176 h 3722511"/>
              <a:gd name="connsiteX501" fmla="*/ 210402 w 12305293"/>
              <a:gd name="connsiteY501" fmla="*/ 1256543 h 3722511"/>
              <a:gd name="connsiteX502" fmla="*/ 218787 w 12305293"/>
              <a:gd name="connsiteY502" fmla="*/ 1216485 h 3722511"/>
              <a:gd name="connsiteX503" fmla="*/ 225541 w 12305293"/>
              <a:gd name="connsiteY503" fmla="*/ 1206871 h 3722511"/>
              <a:gd name="connsiteX504" fmla="*/ 227683 w 12305293"/>
              <a:gd name="connsiteY504" fmla="*/ 1199841 h 3722511"/>
              <a:gd name="connsiteX505" fmla="*/ 228431 w 12305293"/>
              <a:gd name="connsiteY505" fmla="*/ 1199145 h 3722511"/>
              <a:gd name="connsiteX506" fmla="*/ 228431 w 12305293"/>
              <a:gd name="connsiteY506" fmla="*/ 1199045 h 3722511"/>
              <a:gd name="connsiteX507" fmla="*/ 228431 w 12305293"/>
              <a:gd name="connsiteY507" fmla="*/ 1190942 h 3722511"/>
              <a:gd name="connsiteX508" fmla="*/ 228431 w 12305293"/>
              <a:gd name="connsiteY508" fmla="*/ 1187856 h 3722511"/>
              <a:gd name="connsiteX509" fmla="*/ 228738 w 12305293"/>
              <a:gd name="connsiteY509" fmla="*/ 1186508 h 3722511"/>
              <a:gd name="connsiteX510" fmla="*/ 235143 w 12305293"/>
              <a:gd name="connsiteY510" fmla="*/ 1157623 h 3722511"/>
              <a:gd name="connsiteX511" fmla="*/ 236566 w 12305293"/>
              <a:gd name="connsiteY511" fmla="*/ 1150812 h 3722511"/>
              <a:gd name="connsiteX512" fmla="*/ 236694 w 12305293"/>
              <a:gd name="connsiteY512" fmla="*/ 1150628 h 3722511"/>
              <a:gd name="connsiteX513" fmla="*/ 237335 w 12305293"/>
              <a:gd name="connsiteY513" fmla="*/ 1147740 h 3722511"/>
              <a:gd name="connsiteX514" fmla="*/ 246086 w 12305293"/>
              <a:gd name="connsiteY514" fmla="*/ 1136998 h 3722511"/>
              <a:gd name="connsiteX515" fmla="*/ 258619 w 12305293"/>
              <a:gd name="connsiteY515" fmla="*/ 1118808 h 3722511"/>
              <a:gd name="connsiteX516" fmla="*/ 261655 w 12305293"/>
              <a:gd name="connsiteY516" fmla="*/ 1116779 h 3722511"/>
              <a:gd name="connsiteX517" fmla="*/ 262414 w 12305293"/>
              <a:gd name="connsiteY517" fmla="*/ 1116271 h 3722511"/>
              <a:gd name="connsiteX518" fmla="*/ 264989 w 12305293"/>
              <a:gd name="connsiteY518" fmla="*/ 1106181 h 3722511"/>
              <a:gd name="connsiteX519" fmla="*/ 268975 w 12305293"/>
              <a:gd name="connsiteY519" fmla="*/ 1088165 h 3722511"/>
              <a:gd name="connsiteX520" fmla="*/ 277915 w 12305293"/>
              <a:gd name="connsiteY520" fmla="*/ 1047756 h 3722511"/>
              <a:gd name="connsiteX521" fmla="*/ 287193 w 12305293"/>
              <a:gd name="connsiteY521" fmla="*/ 1011289 h 3722511"/>
              <a:gd name="connsiteX522" fmla="*/ 287402 w 12305293"/>
              <a:gd name="connsiteY522" fmla="*/ 1011289 h 3722511"/>
              <a:gd name="connsiteX523" fmla="*/ 287395 w 12305293"/>
              <a:gd name="connsiteY523" fmla="*/ 1011286 h 3722511"/>
              <a:gd name="connsiteX524" fmla="*/ 287383 w 12305293"/>
              <a:gd name="connsiteY524" fmla="*/ 1011286 h 3722511"/>
              <a:gd name="connsiteX525" fmla="*/ 277244 w 12305293"/>
              <a:gd name="connsiteY525" fmla="*/ 1006929 h 3722511"/>
              <a:gd name="connsiteX526" fmla="*/ 273562 w 12305293"/>
              <a:gd name="connsiteY526" fmla="*/ 1005348 h 3722511"/>
              <a:gd name="connsiteX527" fmla="*/ 273560 w 12305293"/>
              <a:gd name="connsiteY527" fmla="*/ 1005345 h 3722511"/>
              <a:gd name="connsiteX528" fmla="*/ 273531 w 12305293"/>
              <a:gd name="connsiteY528" fmla="*/ 1005333 h 3722511"/>
              <a:gd name="connsiteX529" fmla="*/ 268914 w 12305293"/>
              <a:gd name="connsiteY529" fmla="*/ 992236 h 3722511"/>
              <a:gd name="connsiteX530" fmla="*/ 287383 w 12305293"/>
              <a:gd name="connsiteY530" fmla="*/ 976361 h 3722511"/>
              <a:gd name="connsiteX531" fmla="*/ 305563 w 12305293"/>
              <a:gd name="connsiteY531" fmla="*/ 976361 h 3722511"/>
              <a:gd name="connsiteX532" fmla="*/ 308926 w 12305293"/>
              <a:gd name="connsiteY532" fmla="*/ 976361 h 3722511"/>
              <a:gd name="connsiteX533" fmla="*/ 330011 w 12305293"/>
              <a:gd name="connsiteY533" fmla="*/ 619598 h 3722511"/>
              <a:gd name="connsiteX534" fmla="*/ 4187771 w 12305293"/>
              <a:gd name="connsiteY534" fmla="*/ 223881 h 3722511"/>
              <a:gd name="connsiteX535" fmla="*/ 4200732 w 12305293"/>
              <a:gd name="connsiteY535" fmla="*/ 233031 h 3722511"/>
              <a:gd name="connsiteX536" fmla="*/ 4200732 w 12305293"/>
              <a:gd name="connsiteY536" fmla="*/ 315956 h 3722511"/>
              <a:gd name="connsiteX537" fmla="*/ 4225032 w 12305293"/>
              <a:gd name="connsiteY537" fmla="*/ 315956 h 3722511"/>
              <a:gd name="connsiteX538" fmla="*/ 4225032 w 12305293"/>
              <a:gd name="connsiteY538" fmla="*/ 333419 h 3722511"/>
              <a:gd name="connsiteX539" fmla="*/ 4200732 w 12305293"/>
              <a:gd name="connsiteY539" fmla="*/ 333419 h 3722511"/>
              <a:gd name="connsiteX540" fmla="*/ 4200732 w 12305293"/>
              <a:gd name="connsiteY540" fmla="*/ 408592 h 3722511"/>
              <a:gd name="connsiteX541" fmla="*/ 4200732 w 12305293"/>
              <a:gd name="connsiteY541" fmla="*/ 488994 h 3722511"/>
              <a:gd name="connsiteX542" fmla="*/ 4225032 w 12305293"/>
              <a:gd name="connsiteY542" fmla="*/ 488994 h 3722511"/>
              <a:gd name="connsiteX543" fmla="*/ 4225032 w 12305293"/>
              <a:gd name="connsiteY543" fmla="*/ 511219 h 3722511"/>
              <a:gd name="connsiteX544" fmla="*/ 4200732 w 12305293"/>
              <a:gd name="connsiteY544" fmla="*/ 511219 h 3722511"/>
              <a:gd name="connsiteX545" fmla="*/ 4200732 w 12305293"/>
              <a:gd name="connsiteY545" fmla="*/ 566447 h 3722511"/>
              <a:gd name="connsiteX546" fmla="*/ 4200732 w 12305293"/>
              <a:gd name="connsiteY546" fmla="*/ 663620 h 3722511"/>
              <a:gd name="connsiteX547" fmla="*/ 4225032 w 12305293"/>
              <a:gd name="connsiteY547" fmla="*/ 663620 h 3722511"/>
              <a:gd name="connsiteX548" fmla="*/ 4225032 w 12305293"/>
              <a:gd name="connsiteY548" fmla="*/ 684258 h 3722511"/>
              <a:gd name="connsiteX549" fmla="*/ 4200732 w 12305293"/>
              <a:gd name="connsiteY549" fmla="*/ 684258 h 3722511"/>
              <a:gd name="connsiteX550" fmla="*/ 4200732 w 12305293"/>
              <a:gd name="connsiteY550" fmla="*/ 707539 h 3722511"/>
              <a:gd name="connsiteX551" fmla="*/ 4200732 w 12305293"/>
              <a:gd name="connsiteY551" fmla="*/ 832808 h 3722511"/>
              <a:gd name="connsiteX552" fmla="*/ 4200732 w 12305293"/>
              <a:gd name="connsiteY552" fmla="*/ 836658 h 3722511"/>
              <a:gd name="connsiteX553" fmla="*/ 4225032 w 12305293"/>
              <a:gd name="connsiteY553" fmla="*/ 836658 h 3722511"/>
              <a:gd name="connsiteX554" fmla="*/ 4225032 w 12305293"/>
              <a:gd name="connsiteY554" fmla="*/ 857296 h 3722511"/>
              <a:gd name="connsiteX555" fmla="*/ 4200732 w 12305293"/>
              <a:gd name="connsiteY555" fmla="*/ 857296 h 3722511"/>
              <a:gd name="connsiteX556" fmla="*/ 4200732 w 12305293"/>
              <a:gd name="connsiteY556" fmla="*/ 976847 h 3722511"/>
              <a:gd name="connsiteX557" fmla="*/ 4200732 w 12305293"/>
              <a:gd name="connsiteY557" fmla="*/ 992233 h 3722511"/>
              <a:gd name="connsiteX558" fmla="*/ 4284975 w 12305293"/>
              <a:gd name="connsiteY558" fmla="*/ 992233 h 3722511"/>
              <a:gd name="connsiteX559" fmla="*/ 4284975 w 12305293"/>
              <a:gd name="connsiteY559" fmla="*/ 1041446 h 3722511"/>
              <a:gd name="connsiteX560" fmla="*/ 4239126 w 12305293"/>
              <a:gd name="connsiteY560" fmla="*/ 1041446 h 3722511"/>
              <a:gd name="connsiteX561" fmla="*/ 4369219 w 12305293"/>
              <a:gd name="connsiteY561" fmla="*/ 1230359 h 3722511"/>
              <a:gd name="connsiteX562" fmla="*/ 4424303 w 12305293"/>
              <a:gd name="connsiteY562" fmla="*/ 1230359 h 3722511"/>
              <a:gd name="connsiteX563" fmla="*/ 4424303 w 12305293"/>
              <a:gd name="connsiteY563" fmla="*/ 1257346 h 3722511"/>
              <a:gd name="connsiteX564" fmla="*/ 4424303 w 12305293"/>
              <a:gd name="connsiteY564" fmla="*/ 1257347 h 3722511"/>
              <a:gd name="connsiteX565" fmla="*/ 4424303 w 12305293"/>
              <a:gd name="connsiteY565" fmla="*/ 1349421 h 3722511"/>
              <a:gd name="connsiteX566" fmla="*/ 4492347 w 12305293"/>
              <a:gd name="connsiteY566" fmla="*/ 1349421 h 3722511"/>
              <a:gd name="connsiteX567" fmla="*/ 4492347 w 12305293"/>
              <a:gd name="connsiteY567" fmla="*/ 1376409 h 3722511"/>
              <a:gd name="connsiteX568" fmla="*/ 4492347 w 12305293"/>
              <a:gd name="connsiteY568" fmla="*/ 1431972 h 3722511"/>
              <a:gd name="connsiteX569" fmla="*/ 4492347 w 12305293"/>
              <a:gd name="connsiteY569" fmla="*/ 1446260 h 3722511"/>
              <a:gd name="connsiteX570" fmla="*/ 4492347 w 12305293"/>
              <a:gd name="connsiteY570" fmla="*/ 1516109 h 3722511"/>
              <a:gd name="connsiteX571" fmla="*/ 4492347 w 12305293"/>
              <a:gd name="connsiteY571" fmla="*/ 1531984 h 3722511"/>
              <a:gd name="connsiteX572" fmla="*/ 4492347 w 12305293"/>
              <a:gd name="connsiteY572" fmla="*/ 1601834 h 3722511"/>
              <a:gd name="connsiteX573" fmla="*/ 4492347 w 12305293"/>
              <a:gd name="connsiteY573" fmla="*/ 1617709 h 3722511"/>
              <a:gd name="connsiteX574" fmla="*/ 4492347 w 12305293"/>
              <a:gd name="connsiteY574" fmla="*/ 1687560 h 3722511"/>
              <a:gd name="connsiteX575" fmla="*/ 4492347 w 12305293"/>
              <a:gd name="connsiteY575" fmla="*/ 1703435 h 3722511"/>
              <a:gd name="connsiteX576" fmla="*/ 4492347 w 12305293"/>
              <a:gd name="connsiteY576" fmla="*/ 1773285 h 3722511"/>
              <a:gd name="connsiteX577" fmla="*/ 4492347 w 12305293"/>
              <a:gd name="connsiteY577" fmla="*/ 1787573 h 3722511"/>
              <a:gd name="connsiteX578" fmla="*/ 4492347 w 12305293"/>
              <a:gd name="connsiteY578" fmla="*/ 1857423 h 3722511"/>
              <a:gd name="connsiteX579" fmla="*/ 4492347 w 12305293"/>
              <a:gd name="connsiteY579" fmla="*/ 1873298 h 3722511"/>
              <a:gd name="connsiteX580" fmla="*/ 4492347 w 12305293"/>
              <a:gd name="connsiteY580" fmla="*/ 1943148 h 3722511"/>
              <a:gd name="connsiteX581" fmla="*/ 4492347 w 12305293"/>
              <a:gd name="connsiteY581" fmla="*/ 1959023 h 3722511"/>
              <a:gd name="connsiteX582" fmla="*/ 4492347 w 12305293"/>
              <a:gd name="connsiteY582" fmla="*/ 2028873 h 3722511"/>
              <a:gd name="connsiteX583" fmla="*/ 4492347 w 12305293"/>
              <a:gd name="connsiteY583" fmla="*/ 2044748 h 3722511"/>
              <a:gd name="connsiteX584" fmla="*/ 4492347 w 12305293"/>
              <a:gd name="connsiteY584" fmla="*/ 2114598 h 3722511"/>
              <a:gd name="connsiteX585" fmla="*/ 4492347 w 12305293"/>
              <a:gd name="connsiteY585" fmla="*/ 2128886 h 3722511"/>
              <a:gd name="connsiteX586" fmla="*/ 4492347 w 12305293"/>
              <a:gd name="connsiteY586" fmla="*/ 2200323 h 3722511"/>
              <a:gd name="connsiteX587" fmla="*/ 4492347 w 12305293"/>
              <a:gd name="connsiteY587" fmla="*/ 2214611 h 3722511"/>
              <a:gd name="connsiteX588" fmla="*/ 4492347 w 12305293"/>
              <a:gd name="connsiteY588" fmla="*/ 2284461 h 3722511"/>
              <a:gd name="connsiteX589" fmla="*/ 4492347 w 12305293"/>
              <a:gd name="connsiteY589" fmla="*/ 2300336 h 3722511"/>
              <a:gd name="connsiteX590" fmla="*/ 4492347 w 12305293"/>
              <a:gd name="connsiteY590" fmla="*/ 2370186 h 3722511"/>
              <a:gd name="connsiteX591" fmla="*/ 4492347 w 12305293"/>
              <a:gd name="connsiteY591" fmla="*/ 2386061 h 3722511"/>
              <a:gd name="connsiteX592" fmla="*/ 4492347 w 12305293"/>
              <a:gd name="connsiteY592" fmla="*/ 2455912 h 3722511"/>
              <a:gd name="connsiteX593" fmla="*/ 4492347 w 12305293"/>
              <a:gd name="connsiteY593" fmla="*/ 2471787 h 3722511"/>
              <a:gd name="connsiteX594" fmla="*/ 4492347 w 12305293"/>
              <a:gd name="connsiteY594" fmla="*/ 2541637 h 3722511"/>
              <a:gd name="connsiteX595" fmla="*/ 4492347 w 12305293"/>
              <a:gd name="connsiteY595" fmla="*/ 2555925 h 3722511"/>
              <a:gd name="connsiteX596" fmla="*/ 4492347 w 12305293"/>
              <a:gd name="connsiteY596" fmla="*/ 2625775 h 3722511"/>
              <a:gd name="connsiteX597" fmla="*/ 4492347 w 12305293"/>
              <a:gd name="connsiteY597" fmla="*/ 2641650 h 3722511"/>
              <a:gd name="connsiteX598" fmla="*/ 4492347 w 12305293"/>
              <a:gd name="connsiteY598" fmla="*/ 2711500 h 3722511"/>
              <a:gd name="connsiteX599" fmla="*/ 4492347 w 12305293"/>
              <a:gd name="connsiteY599" fmla="*/ 2727375 h 3722511"/>
              <a:gd name="connsiteX600" fmla="*/ 4492347 w 12305293"/>
              <a:gd name="connsiteY600" fmla="*/ 2797225 h 3722511"/>
              <a:gd name="connsiteX601" fmla="*/ 4492347 w 12305293"/>
              <a:gd name="connsiteY601" fmla="*/ 2813100 h 3722511"/>
              <a:gd name="connsiteX602" fmla="*/ 4492347 w 12305293"/>
              <a:gd name="connsiteY602" fmla="*/ 2882950 h 3722511"/>
              <a:gd name="connsiteX603" fmla="*/ 4492347 w 12305293"/>
              <a:gd name="connsiteY603" fmla="*/ 2897238 h 3722511"/>
              <a:gd name="connsiteX604" fmla="*/ 4492347 w 12305293"/>
              <a:gd name="connsiteY604" fmla="*/ 2968675 h 3722511"/>
              <a:gd name="connsiteX605" fmla="*/ 4492347 w 12305293"/>
              <a:gd name="connsiteY605" fmla="*/ 2982963 h 3722511"/>
              <a:gd name="connsiteX606" fmla="*/ 4492347 w 12305293"/>
              <a:gd name="connsiteY606" fmla="*/ 3052813 h 3722511"/>
              <a:gd name="connsiteX607" fmla="*/ 4492347 w 12305293"/>
              <a:gd name="connsiteY607" fmla="*/ 3068688 h 3722511"/>
              <a:gd name="connsiteX608" fmla="*/ 4492347 w 12305293"/>
              <a:gd name="connsiteY608" fmla="*/ 3138538 h 3722511"/>
              <a:gd name="connsiteX609" fmla="*/ 4492347 w 12305293"/>
              <a:gd name="connsiteY609" fmla="*/ 3154413 h 3722511"/>
              <a:gd name="connsiteX610" fmla="*/ 4492347 w 12305293"/>
              <a:gd name="connsiteY610" fmla="*/ 3224264 h 3722511"/>
              <a:gd name="connsiteX611" fmla="*/ 4492347 w 12305293"/>
              <a:gd name="connsiteY611" fmla="*/ 3240139 h 3722511"/>
              <a:gd name="connsiteX612" fmla="*/ 4492347 w 12305293"/>
              <a:gd name="connsiteY612" fmla="*/ 3309989 h 3722511"/>
              <a:gd name="connsiteX613" fmla="*/ 4492347 w 12305293"/>
              <a:gd name="connsiteY613" fmla="*/ 3324277 h 3722511"/>
              <a:gd name="connsiteX614" fmla="*/ 4492347 w 12305293"/>
              <a:gd name="connsiteY614" fmla="*/ 3395714 h 3722511"/>
              <a:gd name="connsiteX615" fmla="*/ 4492347 w 12305293"/>
              <a:gd name="connsiteY615" fmla="*/ 3410002 h 3722511"/>
              <a:gd name="connsiteX616" fmla="*/ 4492347 w 12305293"/>
              <a:gd name="connsiteY616" fmla="*/ 3479852 h 3722511"/>
              <a:gd name="connsiteX617" fmla="*/ 4492347 w 12305293"/>
              <a:gd name="connsiteY617" fmla="*/ 3495727 h 3722511"/>
              <a:gd name="connsiteX618" fmla="*/ 4492347 w 12305293"/>
              <a:gd name="connsiteY618" fmla="*/ 3565577 h 3722511"/>
              <a:gd name="connsiteX619" fmla="*/ 4492347 w 12305293"/>
              <a:gd name="connsiteY619" fmla="*/ 3581452 h 3722511"/>
              <a:gd name="connsiteX620" fmla="*/ 4492347 w 12305293"/>
              <a:gd name="connsiteY620" fmla="*/ 3629279 h 3722511"/>
              <a:gd name="connsiteX621" fmla="*/ 4492419 w 12305293"/>
              <a:gd name="connsiteY621" fmla="*/ 3629142 h 3722511"/>
              <a:gd name="connsiteX622" fmla="*/ 4492419 w 12305293"/>
              <a:gd name="connsiteY622" fmla="*/ 3624328 h 3722511"/>
              <a:gd name="connsiteX623" fmla="*/ 4573424 w 12305293"/>
              <a:gd name="connsiteY623" fmla="*/ 3476690 h 3722511"/>
              <a:gd name="connsiteX624" fmla="*/ 4573425 w 12305293"/>
              <a:gd name="connsiteY624" fmla="*/ 3476690 h 3722511"/>
              <a:gd name="connsiteX625" fmla="*/ 4643089 w 12305293"/>
              <a:gd name="connsiteY625" fmla="*/ 3476690 h 3722511"/>
              <a:gd name="connsiteX626" fmla="*/ 4643089 w 12305293"/>
              <a:gd name="connsiteY626" fmla="*/ 2465449 h 3722511"/>
              <a:gd name="connsiteX627" fmla="*/ 4704652 w 12305293"/>
              <a:gd name="connsiteY627" fmla="*/ 2465449 h 3722511"/>
              <a:gd name="connsiteX628" fmla="*/ 4704652 w 12305293"/>
              <a:gd name="connsiteY628" fmla="*/ 2465448 h 3722511"/>
              <a:gd name="connsiteX629" fmla="*/ 4704652 w 12305293"/>
              <a:gd name="connsiteY629" fmla="*/ 2028884 h 3722511"/>
              <a:gd name="connsiteX630" fmla="*/ 4704652 w 12305293"/>
              <a:gd name="connsiteY630" fmla="*/ 1741545 h 3722511"/>
              <a:gd name="connsiteX631" fmla="*/ 4735434 w 12305293"/>
              <a:gd name="connsiteY631" fmla="*/ 1671695 h 3722511"/>
              <a:gd name="connsiteX632" fmla="*/ 4766216 w 12305293"/>
              <a:gd name="connsiteY632" fmla="*/ 1741545 h 3722511"/>
              <a:gd name="connsiteX633" fmla="*/ 4913644 w 12305293"/>
              <a:gd name="connsiteY633" fmla="*/ 1555807 h 3722511"/>
              <a:gd name="connsiteX634" fmla="*/ 4913644 w 12305293"/>
              <a:gd name="connsiteY634" fmla="*/ 1555808 h 3722511"/>
              <a:gd name="connsiteX635" fmla="*/ 4913645 w 12305293"/>
              <a:gd name="connsiteY635" fmla="*/ 1555807 h 3722511"/>
              <a:gd name="connsiteX636" fmla="*/ 5059454 w 12305293"/>
              <a:gd name="connsiteY636" fmla="*/ 1741545 h 3722511"/>
              <a:gd name="connsiteX637" fmla="*/ 5062694 w 12305293"/>
              <a:gd name="connsiteY637" fmla="*/ 1741545 h 3722511"/>
              <a:gd name="connsiteX638" fmla="*/ 5093475 w 12305293"/>
              <a:gd name="connsiteY638" fmla="*/ 1671695 h 3722511"/>
              <a:gd name="connsiteX639" fmla="*/ 5124257 w 12305293"/>
              <a:gd name="connsiteY639" fmla="*/ 1741545 h 3722511"/>
              <a:gd name="connsiteX640" fmla="*/ 5124257 w 12305293"/>
              <a:gd name="connsiteY640" fmla="*/ 2028884 h 3722511"/>
              <a:gd name="connsiteX641" fmla="*/ 5124257 w 12305293"/>
              <a:gd name="connsiteY641" fmla="*/ 2465449 h 3722511"/>
              <a:gd name="connsiteX642" fmla="*/ 5187441 w 12305293"/>
              <a:gd name="connsiteY642" fmla="*/ 2465449 h 3722511"/>
              <a:gd name="connsiteX643" fmla="*/ 5187441 w 12305293"/>
              <a:gd name="connsiteY643" fmla="*/ 3476690 h 3722511"/>
              <a:gd name="connsiteX644" fmla="*/ 5255485 w 12305293"/>
              <a:gd name="connsiteY644" fmla="*/ 3476690 h 3722511"/>
              <a:gd name="connsiteX645" fmla="*/ 5282926 w 12305293"/>
              <a:gd name="connsiteY645" fmla="*/ 3528335 h 3722511"/>
              <a:gd name="connsiteX646" fmla="*/ 5282926 w 12305293"/>
              <a:gd name="connsiteY646" fmla="*/ 2773408 h 3722511"/>
              <a:gd name="connsiteX647" fmla="*/ 5282941 w 12305293"/>
              <a:gd name="connsiteY647" fmla="*/ 2773408 h 3722511"/>
              <a:gd name="connsiteX648" fmla="*/ 5282941 w 12305293"/>
              <a:gd name="connsiteY648" fmla="*/ 2700418 h 3722511"/>
              <a:gd name="connsiteX649" fmla="*/ 5417408 w 12305293"/>
              <a:gd name="connsiteY649" fmla="*/ 2700418 h 3722511"/>
              <a:gd name="connsiteX650" fmla="*/ 5417409 w 12305293"/>
              <a:gd name="connsiteY650" fmla="*/ 2700417 h 3722511"/>
              <a:gd name="connsiteX651" fmla="*/ 5417408 w 12305293"/>
              <a:gd name="connsiteY651" fmla="*/ 2700417 h 3722511"/>
              <a:gd name="connsiteX652" fmla="*/ 5282941 w 12305293"/>
              <a:gd name="connsiteY652" fmla="*/ 2700417 h 3722511"/>
              <a:gd name="connsiteX653" fmla="*/ 5621538 w 12305293"/>
              <a:gd name="connsiteY653" fmla="*/ 2440065 h 3722511"/>
              <a:gd name="connsiteX654" fmla="*/ 5958515 w 12305293"/>
              <a:gd name="connsiteY654" fmla="*/ 2700417 h 3722511"/>
              <a:gd name="connsiteX655" fmla="*/ 5824047 w 12305293"/>
              <a:gd name="connsiteY655" fmla="*/ 2700417 h 3722511"/>
              <a:gd name="connsiteX656" fmla="*/ 5824048 w 12305293"/>
              <a:gd name="connsiteY656" fmla="*/ 2700418 h 3722511"/>
              <a:gd name="connsiteX657" fmla="*/ 5958515 w 12305293"/>
              <a:gd name="connsiteY657" fmla="*/ 2700418 h 3722511"/>
              <a:gd name="connsiteX658" fmla="*/ 5958515 w 12305293"/>
              <a:gd name="connsiteY658" fmla="*/ 2773444 h 3722511"/>
              <a:gd name="connsiteX659" fmla="*/ 5958498 w 12305293"/>
              <a:gd name="connsiteY659" fmla="*/ 2773444 h 3722511"/>
              <a:gd name="connsiteX660" fmla="*/ 5958498 w 12305293"/>
              <a:gd name="connsiteY660" fmla="*/ 3722511 h 3722511"/>
              <a:gd name="connsiteX661" fmla="*/ 1621689 w 12305293"/>
              <a:gd name="connsiteY661" fmla="*/ 3722511 h 3722511"/>
              <a:gd name="connsiteX662" fmla="*/ 1621689 w 12305293"/>
              <a:gd name="connsiteY662" fmla="*/ 2544808 h 3722511"/>
              <a:gd name="connsiteX663" fmla="*/ 1639501 w 12305293"/>
              <a:gd name="connsiteY663" fmla="*/ 2544808 h 3722511"/>
              <a:gd name="connsiteX664" fmla="*/ 1680000 w 12305293"/>
              <a:gd name="connsiteY664" fmla="*/ 2544808 h 3722511"/>
              <a:gd name="connsiteX665" fmla="*/ 1680000 w 12305293"/>
              <a:gd name="connsiteY665" fmla="*/ 2233658 h 3722511"/>
              <a:gd name="connsiteX666" fmla="*/ 1767513 w 12305293"/>
              <a:gd name="connsiteY666" fmla="*/ 2233658 h 3722511"/>
              <a:gd name="connsiteX667" fmla="*/ 1767513 w 12305293"/>
              <a:gd name="connsiteY667" fmla="*/ 1968545 h 3722511"/>
              <a:gd name="connsiteX668" fmla="*/ 1793446 w 12305293"/>
              <a:gd name="connsiteY668" fmla="*/ 1968545 h 3722511"/>
              <a:gd name="connsiteX669" fmla="*/ 1793446 w 12305293"/>
              <a:gd name="connsiteY669" fmla="*/ 1833608 h 3722511"/>
              <a:gd name="connsiteX670" fmla="*/ 1848543 w 12305293"/>
              <a:gd name="connsiteY670" fmla="*/ 1833608 h 3722511"/>
              <a:gd name="connsiteX671" fmla="*/ 1848543 w 12305293"/>
              <a:gd name="connsiteY671" fmla="*/ 1736770 h 3722511"/>
              <a:gd name="connsiteX672" fmla="*/ 1905234 w 12305293"/>
              <a:gd name="connsiteY672" fmla="*/ 1736770 h 3722511"/>
              <a:gd name="connsiteX673" fmla="*/ 1905234 w 12305293"/>
              <a:gd name="connsiteY673" fmla="*/ 1693908 h 3722511"/>
              <a:gd name="connsiteX674" fmla="*/ 1979758 w 12305293"/>
              <a:gd name="connsiteY674" fmla="*/ 1693908 h 3722511"/>
              <a:gd name="connsiteX675" fmla="*/ 1988915 w 12305293"/>
              <a:gd name="connsiteY675" fmla="*/ 1479595 h 3722511"/>
              <a:gd name="connsiteX676" fmla="*/ 1988666 w 12305293"/>
              <a:gd name="connsiteY676" fmla="*/ 1479595 h 3722511"/>
              <a:gd name="connsiteX677" fmla="*/ 1987883 w 12305293"/>
              <a:gd name="connsiteY677" fmla="*/ 1479595 h 3722511"/>
              <a:gd name="connsiteX678" fmla="*/ 1987492 w 12305293"/>
              <a:gd name="connsiteY678" fmla="*/ 1479595 h 3722511"/>
              <a:gd name="connsiteX679" fmla="*/ 1980334 w 12305293"/>
              <a:gd name="connsiteY679" fmla="*/ 1479595 h 3722511"/>
              <a:gd name="connsiteX680" fmla="*/ 1979256 w 12305293"/>
              <a:gd name="connsiteY680" fmla="*/ 1479595 h 3722511"/>
              <a:gd name="connsiteX681" fmla="*/ 1967873 w 12305293"/>
              <a:gd name="connsiteY681" fmla="*/ 1475847 h 3722511"/>
              <a:gd name="connsiteX682" fmla="*/ 1963542 w 12305293"/>
              <a:gd name="connsiteY682" fmla="*/ 1467600 h 3722511"/>
              <a:gd name="connsiteX683" fmla="*/ 1979256 w 12305293"/>
              <a:gd name="connsiteY683" fmla="*/ 1452607 h 3722511"/>
              <a:gd name="connsiteX684" fmla="*/ 1980433 w 12305293"/>
              <a:gd name="connsiteY684" fmla="*/ 1452607 h 3722511"/>
              <a:gd name="connsiteX685" fmla="*/ 1988666 w 12305293"/>
              <a:gd name="connsiteY685" fmla="*/ 1452607 h 3722511"/>
              <a:gd name="connsiteX686" fmla="*/ 1988695 w 12305293"/>
              <a:gd name="connsiteY686" fmla="*/ 1452607 h 3722511"/>
              <a:gd name="connsiteX687" fmla="*/ 1989477 w 12305293"/>
              <a:gd name="connsiteY687" fmla="*/ 1452607 h 3722511"/>
              <a:gd name="connsiteX688" fmla="*/ 2003620 w 12305293"/>
              <a:gd name="connsiteY688" fmla="*/ 1132318 h 3722511"/>
              <a:gd name="connsiteX689" fmla="*/ 2003121 w 12305293"/>
              <a:gd name="connsiteY689" fmla="*/ 1142981 h 3722511"/>
              <a:gd name="connsiteX690" fmla="*/ 2003620 w 12305293"/>
              <a:gd name="connsiteY690" fmla="*/ 1132317 h 3722511"/>
              <a:gd name="connsiteX691" fmla="*/ 2003620 w 12305293"/>
              <a:gd name="connsiteY691" fmla="*/ 1132271 h 3722511"/>
              <a:gd name="connsiteX692" fmla="*/ 2003926 w 12305293"/>
              <a:gd name="connsiteY692" fmla="*/ 1125367 h 3722511"/>
              <a:gd name="connsiteX693" fmla="*/ 2007272 w 12305293"/>
              <a:gd name="connsiteY693" fmla="*/ 1049602 h 3722511"/>
              <a:gd name="connsiteX694" fmla="*/ 2007280 w 12305293"/>
              <a:gd name="connsiteY694" fmla="*/ 1049382 h 3722511"/>
              <a:gd name="connsiteX695" fmla="*/ 2007283 w 12305293"/>
              <a:gd name="connsiteY695" fmla="*/ 1049382 h 3722511"/>
              <a:gd name="connsiteX696" fmla="*/ 2007483 w 12305293"/>
              <a:gd name="connsiteY696" fmla="*/ 1049382 h 3722511"/>
              <a:gd name="connsiteX697" fmla="*/ 2008268 w 12305293"/>
              <a:gd name="connsiteY697" fmla="*/ 1049382 h 3722511"/>
              <a:gd name="connsiteX698" fmla="*/ 2012971 w 12305293"/>
              <a:gd name="connsiteY698" fmla="*/ 1049382 h 3722511"/>
              <a:gd name="connsiteX699" fmla="*/ 2013755 w 12305293"/>
              <a:gd name="connsiteY699" fmla="*/ 1049382 h 3722511"/>
              <a:gd name="connsiteX700" fmla="*/ 2020230 w 12305293"/>
              <a:gd name="connsiteY700" fmla="*/ 1049382 h 3722511"/>
              <a:gd name="connsiteX701" fmla="*/ 2037377 w 12305293"/>
              <a:gd name="connsiteY701" fmla="*/ 1452607 h 3722511"/>
              <a:gd name="connsiteX702" fmla="*/ 2039561 w 12305293"/>
              <a:gd name="connsiteY702" fmla="*/ 1452607 h 3722511"/>
              <a:gd name="connsiteX703" fmla="*/ 2048198 w 12305293"/>
              <a:gd name="connsiteY703" fmla="*/ 1452607 h 3722511"/>
              <a:gd name="connsiteX704" fmla="*/ 2063900 w 12305293"/>
              <a:gd name="connsiteY704" fmla="*/ 1467600 h 3722511"/>
              <a:gd name="connsiteX705" fmla="*/ 2048198 w 12305293"/>
              <a:gd name="connsiteY705" fmla="*/ 1479595 h 3722511"/>
              <a:gd name="connsiteX706" fmla="*/ 2038529 w 12305293"/>
              <a:gd name="connsiteY706" fmla="*/ 1479595 h 3722511"/>
              <a:gd name="connsiteX707" fmla="*/ 2047691 w 12305293"/>
              <a:gd name="connsiteY707" fmla="*/ 1693908 h 3722511"/>
              <a:gd name="connsiteX708" fmla="*/ 2122229 w 12305293"/>
              <a:gd name="connsiteY708" fmla="*/ 1693908 h 3722511"/>
              <a:gd name="connsiteX709" fmla="*/ 2122229 w 12305293"/>
              <a:gd name="connsiteY709" fmla="*/ 1736770 h 3722511"/>
              <a:gd name="connsiteX710" fmla="*/ 2178885 w 12305293"/>
              <a:gd name="connsiteY710" fmla="*/ 1736770 h 3722511"/>
              <a:gd name="connsiteX711" fmla="*/ 2178885 w 12305293"/>
              <a:gd name="connsiteY711" fmla="*/ 1833608 h 3722511"/>
              <a:gd name="connsiteX712" fmla="*/ 2234022 w 12305293"/>
              <a:gd name="connsiteY712" fmla="*/ 1833608 h 3722511"/>
              <a:gd name="connsiteX713" fmla="*/ 2234022 w 12305293"/>
              <a:gd name="connsiteY713" fmla="*/ 1968545 h 3722511"/>
              <a:gd name="connsiteX714" fmla="*/ 2259999 w 12305293"/>
              <a:gd name="connsiteY714" fmla="*/ 1968545 h 3722511"/>
              <a:gd name="connsiteX715" fmla="*/ 2259999 w 12305293"/>
              <a:gd name="connsiteY715" fmla="*/ 2233658 h 3722511"/>
              <a:gd name="connsiteX716" fmla="*/ 2345764 w 12305293"/>
              <a:gd name="connsiteY716" fmla="*/ 2233658 h 3722511"/>
              <a:gd name="connsiteX717" fmla="*/ 2345764 w 12305293"/>
              <a:gd name="connsiteY717" fmla="*/ 2544808 h 3722511"/>
              <a:gd name="connsiteX718" fmla="*/ 2405725 w 12305293"/>
              <a:gd name="connsiteY718" fmla="*/ 2544808 h 3722511"/>
              <a:gd name="connsiteX719" fmla="*/ 2405725 w 12305293"/>
              <a:gd name="connsiteY719" fmla="*/ 3703690 h 3722511"/>
              <a:gd name="connsiteX720" fmla="*/ 2408302 w 12305293"/>
              <a:gd name="connsiteY720" fmla="*/ 3703690 h 3722511"/>
              <a:gd name="connsiteX721" fmla="*/ 2408304 w 12305293"/>
              <a:gd name="connsiteY721" fmla="*/ 3703690 h 3722511"/>
              <a:gd name="connsiteX722" fmla="*/ 2411417 w 12305293"/>
              <a:gd name="connsiteY722" fmla="*/ 3703690 h 3722511"/>
              <a:gd name="connsiteX723" fmla="*/ 2433205 w 12305293"/>
              <a:gd name="connsiteY723" fmla="*/ 3703690 h 3722511"/>
              <a:gd name="connsiteX724" fmla="*/ 2433245 w 12305293"/>
              <a:gd name="connsiteY724" fmla="*/ 3703690 h 3722511"/>
              <a:gd name="connsiteX725" fmla="*/ 2433245 w 12305293"/>
              <a:gd name="connsiteY725" fmla="*/ 3644953 h 3722511"/>
              <a:gd name="connsiteX726" fmla="*/ 2412185 w 12305293"/>
              <a:gd name="connsiteY726" fmla="*/ 3644953 h 3722511"/>
              <a:gd name="connsiteX727" fmla="*/ 2412184 w 12305293"/>
              <a:gd name="connsiteY727" fmla="*/ 3644953 h 3722511"/>
              <a:gd name="connsiteX728" fmla="*/ 2412184 w 12305293"/>
              <a:gd name="connsiteY728" fmla="*/ 3592565 h 3722511"/>
              <a:gd name="connsiteX729" fmla="*/ 2412185 w 12305293"/>
              <a:gd name="connsiteY729" fmla="*/ 3592565 h 3722511"/>
              <a:gd name="connsiteX730" fmla="*/ 2433245 w 12305293"/>
              <a:gd name="connsiteY730" fmla="*/ 3592565 h 3722511"/>
              <a:gd name="connsiteX731" fmla="*/ 2433245 w 12305293"/>
              <a:gd name="connsiteY731" fmla="*/ 3532240 h 3722511"/>
              <a:gd name="connsiteX732" fmla="*/ 2433247 w 12305293"/>
              <a:gd name="connsiteY732" fmla="*/ 3532240 h 3722511"/>
              <a:gd name="connsiteX733" fmla="*/ 2496433 w 12305293"/>
              <a:gd name="connsiteY733" fmla="*/ 3532240 h 3722511"/>
              <a:gd name="connsiteX734" fmla="*/ 2496433 w 12305293"/>
              <a:gd name="connsiteY734" fmla="*/ 3532239 h 3722511"/>
              <a:gd name="connsiteX735" fmla="*/ 2496433 w 12305293"/>
              <a:gd name="connsiteY735" fmla="*/ 2916288 h 3722511"/>
              <a:gd name="connsiteX736" fmla="*/ 2496582 w 12305293"/>
              <a:gd name="connsiteY736" fmla="*/ 2916123 h 3722511"/>
              <a:gd name="connsiteX737" fmla="*/ 2551787 w 12305293"/>
              <a:gd name="connsiteY737" fmla="*/ 2854973 h 3722511"/>
              <a:gd name="connsiteX738" fmla="*/ 2551787 w 12305293"/>
              <a:gd name="connsiteY738" fmla="*/ 2800850 h 3722511"/>
              <a:gd name="connsiteX739" fmla="*/ 2551787 w 12305293"/>
              <a:gd name="connsiteY739" fmla="*/ 2632571 h 3722511"/>
              <a:gd name="connsiteX740" fmla="*/ 2548840 w 12305293"/>
              <a:gd name="connsiteY740" fmla="*/ 2566607 h 3722511"/>
              <a:gd name="connsiteX741" fmla="*/ 2539796 w 12305293"/>
              <a:gd name="connsiteY741" fmla="*/ 2517413 h 3722511"/>
              <a:gd name="connsiteX742" fmla="*/ 2502127 w 12305293"/>
              <a:gd name="connsiteY742" fmla="*/ 2431534 h 3722511"/>
              <a:gd name="connsiteX743" fmla="*/ 2446207 w 12305293"/>
              <a:gd name="connsiteY743" fmla="*/ 2303290 h 3722511"/>
              <a:gd name="connsiteX744" fmla="*/ 2446207 w 12305293"/>
              <a:gd name="connsiteY744" fmla="*/ 2300236 h 3722511"/>
              <a:gd name="connsiteX745" fmla="*/ 2446207 w 12305293"/>
              <a:gd name="connsiteY745" fmla="*/ 2297183 h 3722511"/>
              <a:gd name="connsiteX746" fmla="*/ 2452206 w 12305293"/>
              <a:gd name="connsiteY746" fmla="*/ 2263977 h 3722511"/>
              <a:gd name="connsiteX747" fmla="*/ 2452528 w 12305293"/>
              <a:gd name="connsiteY747" fmla="*/ 2261877 h 3722511"/>
              <a:gd name="connsiteX748" fmla="*/ 2452632 w 12305293"/>
              <a:gd name="connsiteY748" fmla="*/ 2261627 h 3722511"/>
              <a:gd name="connsiteX749" fmla="*/ 2453585 w 12305293"/>
              <a:gd name="connsiteY749" fmla="*/ 2256343 h 3722511"/>
              <a:gd name="connsiteX750" fmla="*/ 2461432 w 12305293"/>
              <a:gd name="connsiteY750" fmla="*/ 2240297 h 3722511"/>
              <a:gd name="connsiteX751" fmla="*/ 2465327 w 12305293"/>
              <a:gd name="connsiteY751" fmla="*/ 2230857 h 3722511"/>
              <a:gd name="connsiteX752" fmla="*/ 2467128 w 12305293"/>
              <a:gd name="connsiteY752" fmla="*/ 2228504 h 3722511"/>
              <a:gd name="connsiteX753" fmla="*/ 2465855 w 12305293"/>
              <a:gd name="connsiteY753" fmla="*/ 2220479 h 3722511"/>
              <a:gd name="connsiteX754" fmla="*/ 2449634 w 12305293"/>
              <a:gd name="connsiteY754" fmla="*/ 1994037 h 3722511"/>
              <a:gd name="connsiteX755" fmla="*/ 2451718 w 12305293"/>
              <a:gd name="connsiteY755" fmla="*/ 1909727 h 3722511"/>
              <a:gd name="connsiteX756" fmla="*/ 2436271 w 12305293"/>
              <a:gd name="connsiteY756" fmla="*/ 1903696 h 3722511"/>
              <a:gd name="connsiteX757" fmla="*/ 2430006 w 12305293"/>
              <a:gd name="connsiteY757" fmla="*/ 1888409 h 3722511"/>
              <a:gd name="connsiteX758" fmla="*/ 2430006 w 12305293"/>
              <a:gd name="connsiteY758" fmla="*/ 1851720 h 3722511"/>
              <a:gd name="connsiteX759" fmla="*/ 2430031 w 12305293"/>
              <a:gd name="connsiteY759" fmla="*/ 1851662 h 3722511"/>
              <a:gd name="connsiteX760" fmla="*/ 2436662 w 12305293"/>
              <a:gd name="connsiteY760" fmla="*/ 1834905 h 3722511"/>
              <a:gd name="connsiteX761" fmla="*/ 2451158 w 12305293"/>
              <a:gd name="connsiteY761" fmla="*/ 1828883 h 3722511"/>
              <a:gd name="connsiteX762" fmla="*/ 2449312 w 12305293"/>
              <a:gd name="connsiteY762" fmla="*/ 1779636 h 3722511"/>
              <a:gd name="connsiteX763" fmla="*/ 2402465 w 12305293"/>
              <a:gd name="connsiteY763" fmla="*/ 1779636 h 3722511"/>
              <a:gd name="connsiteX764" fmla="*/ 2402465 w 12305293"/>
              <a:gd name="connsiteY764" fmla="*/ 1720898 h 3722511"/>
              <a:gd name="connsiteX765" fmla="*/ 2447101 w 12305293"/>
              <a:gd name="connsiteY765" fmla="*/ 1720898 h 3722511"/>
              <a:gd name="connsiteX766" fmla="*/ 2446208 w 12305293"/>
              <a:gd name="connsiteY766" fmla="*/ 1697089 h 3722511"/>
              <a:gd name="connsiteX767" fmla="*/ 2446207 w 12305293"/>
              <a:gd name="connsiteY767" fmla="*/ 1697086 h 3722511"/>
              <a:gd name="connsiteX768" fmla="*/ 2445846 w 12305293"/>
              <a:gd name="connsiteY768" fmla="*/ 1697086 h 3722511"/>
              <a:gd name="connsiteX769" fmla="*/ 2445398 w 12305293"/>
              <a:gd name="connsiteY769" fmla="*/ 1697086 h 3722511"/>
              <a:gd name="connsiteX770" fmla="*/ 2437195 w 12305293"/>
              <a:gd name="connsiteY770" fmla="*/ 1680973 h 3722511"/>
              <a:gd name="connsiteX771" fmla="*/ 2436537 w 12305293"/>
              <a:gd name="connsiteY771" fmla="*/ 1669670 h 3722511"/>
              <a:gd name="connsiteX772" fmla="*/ 2436488 w 12305293"/>
              <a:gd name="connsiteY772" fmla="*/ 1669463 h 3722511"/>
              <a:gd name="connsiteX773" fmla="*/ 2436519 w 12305293"/>
              <a:gd name="connsiteY773" fmla="*/ 1669370 h 3722511"/>
              <a:gd name="connsiteX774" fmla="*/ 2436172 w 12305293"/>
              <a:gd name="connsiteY774" fmla="*/ 1663421 h 3722511"/>
              <a:gd name="connsiteX775" fmla="*/ 2445398 w 12305293"/>
              <a:gd name="connsiteY775" fmla="*/ 1641841 h 3722511"/>
              <a:gd name="connsiteX776" fmla="*/ 2475142 w 12305293"/>
              <a:gd name="connsiteY776" fmla="*/ 1602512 h 3722511"/>
              <a:gd name="connsiteX777" fmla="*/ 2476276 w 12305293"/>
              <a:gd name="connsiteY777" fmla="*/ 1599055 h 3722511"/>
              <a:gd name="connsiteX778" fmla="*/ 2482893 w 12305293"/>
              <a:gd name="connsiteY778" fmla="*/ 1558973 h 3722511"/>
              <a:gd name="connsiteX779" fmla="*/ 2483674 w 12305293"/>
              <a:gd name="connsiteY779" fmla="*/ 1560103 h 3722511"/>
              <a:gd name="connsiteX780" fmla="*/ 2483291 w 12305293"/>
              <a:gd name="connsiteY780" fmla="*/ 1558973 h 3722511"/>
              <a:gd name="connsiteX781" fmla="*/ 2520735 w 12305293"/>
              <a:gd name="connsiteY781" fmla="*/ 1647979 h 3722511"/>
              <a:gd name="connsiteX782" fmla="*/ 2515275 w 12305293"/>
              <a:gd name="connsiteY782" fmla="*/ 1674834 h 3722511"/>
              <a:gd name="connsiteX783" fmla="*/ 2512393 w 12305293"/>
              <a:gd name="connsiteY783" fmla="*/ 1678124 h 3722511"/>
              <a:gd name="connsiteX784" fmla="*/ 2511900 w 12305293"/>
              <a:gd name="connsiteY784" fmla="*/ 1679696 h 3722511"/>
              <a:gd name="connsiteX785" fmla="*/ 2500361 w 12305293"/>
              <a:gd name="connsiteY785" fmla="*/ 1691850 h 3722511"/>
              <a:gd name="connsiteX786" fmla="*/ 2495772 w 12305293"/>
              <a:gd name="connsiteY786" fmla="*/ 1697086 h 3722511"/>
              <a:gd name="connsiteX787" fmla="*/ 2496433 w 12305293"/>
              <a:gd name="connsiteY787" fmla="*/ 1697086 h 3722511"/>
              <a:gd name="connsiteX788" fmla="*/ 2495537 w 12305293"/>
              <a:gd name="connsiteY788" fmla="*/ 1720898 h 3722511"/>
              <a:gd name="connsiteX789" fmla="*/ 2538555 w 12305293"/>
              <a:gd name="connsiteY789" fmla="*/ 1720898 h 3722511"/>
              <a:gd name="connsiteX790" fmla="*/ 2538557 w 12305293"/>
              <a:gd name="connsiteY790" fmla="*/ 1720898 h 3722511"/>
              <a:gd name="connsiteX791" fmla="*/ 2538557 w 12305293"/>
              <a:gd name="connsiteY791" fmla="*/ 1779636 h 3722511"/>
              <a:gd name="connsiteX792" fmla="*/ 2538555 w 12305293"/>
              <a:gd name="connsiteY792" fmla="*/ 1779636 h 3722511"/>
              <a:gd name="connsiteX793" fmla="*/ 2493330 w 12305293"/>
              <a:gd name="connsiteY793" fmla="*/ 1779636 h 3722511"/>
              <a:gd name="connsiteX794" fmla="*/ 2491064 w 12305293"/>
              <a:gd name="connsiteY794" fmla="*/ 1839961 h 3722511"/>
              <a:gd name="connsiteX795" fmla="*/ 2492381 w 12305293"/>
              <a:gd name="connsiteY795" fmla="*/ 1839961 h 3722511"/>
              <a:gd name="connsiteX796" fmla="*/ 2501294 w 12305293"/>
              <a:gd name="connsiteY796" fmla="*/ 1848957 h 3722511"/>
              <a:gd name="connsiteX797" fmla="*/ 2501294 w 12305293"/>
              <a:gd name="connsiteY797" fmla="*/ 1852661 h 3722511"/>
              <a:gd name="connsiteX798" fmla="*/ 2501833 w 12305293"/>
              <a:gd name="connsiteY798" fmla="*/ 1852661 h 3722511"/>
              <a:gd name="connsiteX799" fmla="*/ 2501833 w 12305293"/>
              <a:gd name="connsiteY799" fmla="*/ 1857548 h 3722511"/>
              <a:gd name="connsiteX800" fmla="*/ 2501959 w 12305293"/>
              <a:gd name="connsiteY800" fmla="*/ 1857424 h 3722511"/>
              <a:gd name="connsiteX801" fmla="*/ 2501959 w 12305293"/>
              <a:gd name="connsiteY801" fmla="*/ 1900128 h 3722511"/>
              <a:gd name="connsiteX802" fmla="*/ 2501833 w 12305293"/>
              <a:gd name="connsiteY802" fmla="*/ 1900321 h 3722511"/>
              <a:gd name="connsiteX803" fmla="*/ 2501833 w 12305293"/>
              <a:gd name="connsiteY803" fmla="*/ 1901315 h 3722511"/>
              <a:gd name="connsiteX804" fmla="*/ 2495623 w 12305293"/>
              <a:gd name="connsiteY804" fmla="*/ 1910817 h 3722511"/>
              <a:gd name="connsiteX805" fmla="*/ 2489608 w 12305293"/>
              <a:gd name="connsiteY805" fmla="*/ 1922226 h 3722511"/>
              <a:gd name="connsiteX806" fmla="*/ 2490054 w 12305293"/>
              <a:gd name="connsiteY806" fmla="*/ 1930703 h 3722511"/>
              <a:gd name="connsiteX807" fmla="*/ 2494440 w 12305293"/>
              <a:gd name="connsiteY807" fmla="*/ 1986107 h 3722511"/>
              <a:gd name="connsiteX808" fmla="*/ 2500141 w 12305293"/>
              <a:gd name="connsiteY808" fmla="*/ 2023322 h 3722511"/>
              <a:gd name="connsiteX809" fmla="*/ 2508793 w 12305293"/>
              <a:gd name="connsiteY809" fmla="*/ 2060558 h 3722511"/>
              <a:gd name="connsiteX810" fmla="*/ 2518318 w 12305293"/>
              <a:gd name="connsiteY810" fmla="*/ 2098634 h 3722511"/>
              <a:gd name="connsiteX811" fmla="*/ 2545321 w 12305293"/>
              <a:gd name="connsiteY811" fmla="*/ 2177702 h 3722511"/>
              <a:gd name="connsiteX812" fmla="*/ 2545659 w 12305293"/>
              <a:gd name="connsiteY812" fmla="*/ 2178866 h 3722511"/>
              <a:gd name="connsiteX813" fmla="*/ 2545838 w 12305293"/>
              <a:gd name="connsiteY813" fmla="*/ 2178843 h 3722511"/>
              <a:gd name="connsiteX814" fmla="*/ 2545621 w 12305293"/>
              <a:gd name="connsiteY814" fmla="*/ 2178099 h 3722511"/>
              <a:gd name="connsiteX815" fmla="*/ 2551787 w 12305293"/>
              <a:gd name="connsiteY815" fmla="*/ 2178099 h 3722511"/>
              <a:gd name="connsiteX816" fmla="*/ 2551835 w 12305293"/>
              <a:gd name="connsiteY816" fmla="*/ 2178099 h 3722511"/>
              <a:gd name="connsiteX817" fmla="*/ 2554940 w 12305293"/>
              <a:gd name="connsiteY817" fmla="*/ 2178099 h 3722511"/>
              <a:gd name="connsiteX818" fmla="*/ 2559630 w 12305293"/>
              <a:gd name="connsiteY818" fmla="*/ 2191926 h 3722511"/>
              <a:gd name="connsiteX819" fmla="*/ 2562207 w 12305293"/>
              <a:gd name="connsiteY819" fmla="*/ 2196470 h 3722511"/>
              <a:gd name="connsiteX820" fmla="*/ 2565540 w 12305293"/>
              <a:gd name="connsiteY820" fmla="*/ 2196182 h 3722511"/>
              <a:gd name="connsiteX821" fmla="*/ 2575757 w 12305293"/>
              <a:gd name="connsiteY821" fmla="*/ 2195298 h 3722511"/>
              <a:gd name="connsiteX822" fmla="*/ 2588432 w 12305293"/>
              <a:gd name="connsiteY822" fmla="*/ 2194201 h 3722511"/>
              <a:gd name="connsiteX823" fmla="*/ 2645482 w 12305293"/>
              <a:gd name="connsiteY823" fmla="*/ 2187624 h 3722511"/>
              <a:gd name="connsiteX824" fmla="*/ 2645482 w 12305293"/>
              <a:gd name="connsiteY824" fmla="*/ 2187237 h 3722511"/>
              <a:gd name="connsiteX825" fmla="*/ 2646492 w 12305293"/>
              <a:gd name="connsiteY825" fmla="*/ 2187237 h 3722511"/>
              <a:gd name="connsiteX826" fmla="*/ 2650822 w 12305293"/>
              <a:gd name="connsiteY826" fmla="*/ 2171884 h 3722511"/>
              <a:gd name="connsiteX827" fmla="*/ 2651353 w 12305293"/>
              <a:gd name="connsiteY827" fmla="*/ 2168254 h 3722511"/>
              <a:gd name="connsiteX828" fmla="*/ 2554786 w 12305293"/>
              <a:gd name="connsiteY828" fmla="*/ 2117788 h 3722511"/>
              <a:gd name="connsiteX829" fmla="*/ 2554757 w 12305293"/>
              <a:gd name="connsiteY829" fmla="*/ 2117774 h 3722511"/>
              <a:gd name="connsiteX830" fmla="*/ 2554761 w 12305293"/>
              <a:gd name="connsiteY830" fmla="*/ 2117775 h 3722511"/>
              <a:gd name="connsiteX831" fmla="*/ 2554759 w 12305293"/>
              <a:gd name="connsiteY831" fmla="*/ 2117774 h 3722511"/>
              <a:gd name="connsiteX832" fmla="*/ 2664611 w 12305293"/>
              <a:gd name="connsiteY832" fmla="*/ 2147603 h 3722511"/>
              <a:gd name="connsiteX833" fmla="*/ 2671887 w 12305293"/>
              <a:gd name="connsiteY833" fmla="*/ 2142865 h 3722511"/>
              <a:gd name="connsiteX834" fmla="*/ 2675375 w 12305293"/>
              <a:gd name="connsiteY834" fmla="*/ 2139162 h 3722511"/>
              <a:gd name="connsiteX835" fmla="*/ 2682527 w 12305293"/>
              <a:gd name="connsiteY835" fmla="*/ 2135713 h 3722511"/>
              <a:gd name="connsiteX836" fmla="*/ 2605626 w 12305293"/>
              <a:gd name="connsiteY836" fmla="*/ 2056524 h 3722511"/>
              <a:gd name="connsiteX837" fmla="*/ 2604981 w 12305293"/>
              <a:gd name="connsiteY837" fmla="*/ 2055862 h 3722511"/>
              <a:gd name="connsiteX838" fmla="*/ 2604986 w 12305293"/>
              <a:gd name="connsiteY838" fmla="*/ 2055865 h 3722511"/>
              <a:gd name="connsiteX839" fmla="*/ 2604983 w 12305293"/>
              <a:gd name="connsiteY839" fmla="*/ 2055862 h 3722511"/>
              <a:gd name="connsiteX840" fmla="*/ 2605280 w 12305293"/>
              <a:gd name="connsiteY840" fmla="*/ 2056059 h 3722511"/>
              <a:gd name="connsiteX841" fmla="*/ 2606576 w 12305293"/>
              <a:gd name="connsiteY841" fmla="*/ 2056911 h 3722511"/>
              <a:gd name="connsiteX842" fmla="*/ 2707043 w 12305293"/>
              <a:gd name="connsiteY842" fmla="*/ 2123025 h 3722511"/>
              <a:gd name="connsiteX843" fmla="*/ 2706653 w 12305293"/>
              <a:gd name="connsiteY843" fmla="*/ 2123217 h 3722511"/>
              <a:gd name="connsiteX844" fmla="*/ 2707402 w 12305293"/>
              <a:gd name="connsiteY844" fmla="*/ 2123713 h 3722511"/>
              <a:gd name="connsiteX845" fmla="*/ 2707816 w 12305293"/>
              <a:gd name="connsiteY845" fmla="*/ 2123512 h 3722511"/>
              <a:gd name="connsiteX846" fmla="*/ 2710536 w 12305293"/>
              <a:gd name="connsiteY846" fmla="*/ 2123120 h 3722511"/>
              <a:gd name="connsiteX847" fmla="*/ 2735173 w 12305293"/>
              <a:gd name="connsiteY847" fmla="*/ 2117774 h 3722511"/>
              <a:gd name="connsiteX848" fmla="*/ 2734586 w 12305293"/>
              <a:gd name="connsiteY848" fmla="*/ 2117774 h 3722511"/>
              <a:gd name="connsiteX849" fmla="*/ 2747547 w 12305293"/>
              <a:gd name="connsiteY849" fmla="*/ 1992361 h 3722511"/>
              <a:gd name="connsiteX850" fmla="*/ 2763057 w 12305293"/>
              <a:gd name="connsiteY850" fmla="*/ 2120014 h 3722511"/>
              <a:gd name="connsiteX851" fmla="*/ 2787277 w 12305293"/>
              <a:gd name="connsiteY851" fmla="*/ 2123512 h 3722511"/>
              <a:gd name="connsiteX852" fmla="*/ 2789568 w 12305293"/>
              <a:gd name="connsiteY852" fmla="*/ 2124617 h 3722511"/>
              <a:gd name="connsiteX853" fmla="*/ 2893362 w 12305293"/>
              <a:gd name="connsiteY853" fmla="*/ 2055862 h 3722511"/>
              <a:gd name="connsiteX854" fmla="*/ 2814777 w 12305293"/>
              <a:gd name="connsiteY854" fmla="*/ 2136777 h 3722511"/>
              <a:gd name="connsiteX855" fmla="*/ 2819722 w 12305293"/>
              <a:gd name="connsiteY855" fmla="*/ 2139162 h 3722511"/>
              <a:gd name="connsiteX856" fmla="*/ 2828908 w 12305293"/>
              <a:gd name="connsiteY856" fmla="*/ 2148911 h 3722511"/>
              <a:gd name="connsiteX857" fmla="*/ 2943581 w 12305293"/>
              <a:gd name="connsiteY857" fmla="*/ 2117774 h 3722511"/>
              <a:gd name="connsiteX858" fmla="*/ 2843735 w 12305293"/>
              <a:gd name="connsiteY858" fmla="*/ 2169955 h 3722511"/>
              <a:gd name="connsiteX859" fmla="*/ 2848583 w 12305293"/>
              <a:gd name="connsiteY859" fmla="*/ 2187131 h 3722511"/>
              <a:gd name="connsiteX860" fmla="*/ 2963021 w 12305293"/>
              <a:gd name="connsiteY860" fmla="*/ 2200324 h 3722511"/>
              <a:gd name="connsiteX861" fmla="*/ 2847368 w 12305293"/>
              <a:gd name="connsiteY861" fmla="*/ 2209657 h 3722511"/>
              <a:gd name="connsiteX862" fmla="*/ 2862495 w 12305293"/>
              <a:gd name="connsiteY862" fmla="*/ 2392463 h 3722511"/>
              <a:gd name="connsiteX863" fmla="*/ 2872400 w 12305293"/>
              <a:gd name="connsiteY863" fmla="*/ 2393569 h 3722511"/>
              <a:gd name="connsiteX864" fmla="*/ 2899571 w 12305293"/>
              <a:gd name="connsiteY864" fmla="*/ 2400759 h 3722511"/>
              <a:gd name="connsiteX865" fmla="*/ 2936831 w 12305293"/>
              <a:gd name="connsiteY865" fmla="*/ 2544116 h 3722511"/>
              <a:gd name="connsiteX866" fmla="*/ 3005140 w 12305293"/>
              <a:gd name="connsiteY866" fmla="*/ 2589868 h 3722511"/>
              <a:gd name="connsiteX867" fmla="*/ 2946144 w 12305293"/>
              <a:gd name="connsiteY867" fmla="*/ 2647821 h 3722511"/>
              <a:gd name="connsiteX868" fmla="*/ 2946144 w 12305293"/>
              <a:gd name="connsiteY868" fmla="*/ 3137771 h 3722511"/>
              <a:gd name="connsiteX869" fmla="*/ 2946144 w 12305293"/>
              <a:gd name="connsiteY869" fmla="*/ 3144925 h 3722511"/>
              <a:gd name="connsiteX870" fmla="*/ 2997042 w 12305293"/>
              <a:gd name="connsiteY870" fmla="*/ 3184576 h 3722511"/>
              <a:gd name="connsiteX871" fmla="*/ 2997042 w 12305293"/>
              <a:gd name="connsiteY871" fmla="*/ 3532239 h 3722511"/>
              <a:gd name="connsiteX872" fmla="*/ 2946144 w 12305293"/>
              <a:gd name="connsiteY872" fmla="*/ 3532239 h 3722511"/>
              <a:gd name="connsiteX873" fmla="*/ 2946144 w 12305293"/>
              <a:gd name="connsiteY873" fmla="*/ 3532240 h 3722511"/>
              <a:gd name="connsiteX874" fmla="*/ 3055361 w 12305293"/>
              <a:gd name="connsiteY874" fmla="*/ 3532240 h 3722511"/>
              <a:gd name="connsiteX875" fmla="*/ 3055361 w 12305293"/>
              <a:gd name="connsiteY875" fmla="*/ 3592565 h 3722511"/>
              <a:gd name="connsiteX876" fmla="*/ 3065098 w 12305293"/>
              <a:gd name="connsiteY876" fmla="*/ 3592565 h 3722511"/>
              <a:gd name="connsiteX877" fmla="*/ 3065098 w 12305293"/>
              <a:gd name="connsiteY877" fmla="*/ 3587748 h 3722511"/>
              <a:gd name="connsiteX878" fmla="*/ 3065098 w 12305293"/>
              <a:gd name="connsiteY878" fmla="*/ 3231684 h 3722511"/>
              <a:gd name="connsiteX879" fmla="*/ 3065098 w 12305293"/>
              <a:gd name="connsiteY879" fmla="*/ 3154414 h 3722511"/>
              <a:gd name="connsiteX880" fmla="*/ 3065066 w 12305293"/>
              <a:gd name="connsiteY880" fmla="*/ 3154414 h 3722511"/>
              <a:gd name="connsiteX881" fmla="*/ 3065066 w 12305293"/>
              <a:gd name="connsiteY881" fmla="*/ 3108531 h 3722511"/>
              <a:gd name="connsiteX882" fmla="*/ 3065098 w 12305293"/>
              <a:gd name="connsiteY882" fmla="*/ 3108531 h 3722511"/>
              <a:gd name="connsiteX883" fmla="*/ 3065098 w 12305293"/>
              <a:gd name="connsiteY883" fmla="*/ 3108528 h 3722511"/>
              <a:gd name="connsiteX884" fmla="*/ 3065098 w 12305293"/>
              <a:gd name="connsiteY884" fmla="*/ 3105391 h 3722511"/>
              <a:gd name="connsiteX885" fmla="*/ 3065098 w 12305293"/>
              <a:gd name="connsiteY885" fmla="*/ 3097246 h 3722511"/>
              <a:gd name="connsiteX886" fmla="*/ 3065098 w 12305293"/>
              <a:gd name="connsiteY886" fmla="*/ 3081388 h 3722511"/>
              <a:gd name="connsiteX887" fmla="*/ 3065066 w 12305293"/>
              <a:gd name="connsiteY887" fmla="*/ 3081388 h 3722511"/>
              <a:gd name="connsiteX888" fmla="*/ 3065066 w 12305293"/>
              <a:gd name="connsiteY888" fmla="*/ 3035574 h 3722511"/>
              <a:gd name="connsiteX889" fmla="*/ 3065098 w 12305293"/>
              <a:gd name="connsiteY889" fmla="*/ 3035574 h 3722511"/>
              <a:gd name="connsiteX890" fmla="*/ 3065098 w 12305293"/>
              <a:gd name="connsiteY890" fmla="*/ 3035572 h 3722511"/>
              <a:gd name="connsiteX891" fmla="*/ 3177531 w 12305293"/>
              <a:gd name="connsiteY891" fmla="*/ 3035572 h 3722511"/>
              <a:gd name="connsiteX892" fmla="*/ 3232896 w 12305293"/>
              <a:gd name="connsiteY892" fmla="*/ 3035572 h 3722511"/>
              <a:gd name="connsiteX893" fmla="*/ 3236004 w 12305293"/>
              <a:gd name="connsiteY893" fmla="*/ 3020303 h 3722511"/>
              <a:gd name="connsiteX894" fmla="*/ 3252598 w 12305293"/>
              <a:gd name="connsiteY894" fmla="*/ 2975501 h 3722511"/>
              <a:gd name="connsiteX895" fmla="*/ 3263525 w 12305293"/>
              <a:gd name="connsiteY895" fmla="*/ 2942132 h 3722511"/>
              <a:gd name="connsiteX896" fmla="*/ 3266370 w 12305293"/>
              <a:gd name="connsiteY896" fmla="*/ 2938321 h 3722511"/>
              <a:gd name="connsiteX897" fmla="*/ 3268299 w 12305293"/>
              <a:gd name="connsiteY897" fmla="*/ 2933115 h 3722511"/>
              <a:gd name="connsiteX898" fmla="*/ 3296802 w 12305293"/>
              <a:gd name="connsiteY898" fmla="*/ 2897562 h 3722511"/>
              <a:gd name="connsiteX899" fmla="*/ 3319180 w 12305293"/>
              <a:gd name="connsiteY899" fmla="*/ 2867590 h 3722511"/>
              <a:gd name="connsiteX900" fmla="*/ 3323712 w 12305293"/>
              <a:gd name="connsiteY900" fmla="*/ 2863997 h 3722511"/>
              <a:gd name="connsiteX901" fmla="*/ 3324197 w 12305293"/>
              <a:gd name="connsiteY901" fmla="*/ 2863393 h 3722511"/>
              <a:gd name="connsiteX902" fmla="*/ 3325509 w 12305293"/>
              <a:gd name="connsiteY902" fmla="*/ 2862572 h 3722511"/>
              <a:gd name="connsiteX903" fmla="*/ 3354767 w 12305293"/>
              <a:gd name="connsiteY903" fmla="*/ 2839375 h 3722511"/>
              <a:gd name="connsiteX904" fmla="*/ 3394651 w 12305293"/>
              <a:gd name="connsiteY904" fmla="*/ 2818246 h 3722511"/>
              <a:gd name="connsiteX905" fmla="*/ 3398079 w 12305293"/>
              <a:gd name="connsiteY905" fmla="*/ 2817202 h 3722511"/>
              <a:gd name="connsiteX906" fmla="*/ 3398161 w 12305293"/>
              <a:gd name="connsiteY906" fmla="*/ 2817150 h 3722511"/>
              <a:gd name="connsiteX907" fmla="*/ 3401255 w 12305293"/>
              <a:gd name="connsiteY907" fmla="*/ 2816234 h 3722511"/>
              <a:gd name="connsiteX908" fmla="*/ 3438177 w 12305293"/>
              <a:gd name="connsiteY908" fmla="*/ 2804991 h 3722511"/>
              <a:gd name="connsiteX909" fmla="*/ 3439784 w 12305293"/>
              <a:gd name="connsiteY909" fmla="*/ 2804832 h 3722511"/>
              <a:gd name="connsiteX910" fmla="*/ 3440188 w 12305293"/>
              <a:gd name="connsiteY910" fmla="*/ 2804713 h 3722511"/>
              <a:gd name="connsiteX911" fmla="*/ 3484655 w 12305293"/>
              <a:gd name="connsiteY911" fmla="*/ 2800400 h 3722511"/>
              <a:gd name="connsiteX912" fmla="*/ 3484655 w 12305293"/>
              <a:gd name="connsiteY912" fmla="*/ 2800401 h 3722511"/>
              <a:gd name="connsiteX913" fmla="*/ 3484691 w 12305293"/>
              <a:gd name="connsiteY913" fmla="*/ 2800398 h 3722511"/>
              <a:gd name="connsiteX914" fmla="*/ 3733345 w 12305293"/>
              <a:gd name="connsiteY914" fmla="*/ 3035572 h 3722511"/>
              <a:gd name="connsiteX915" fmla="*/ 3847868 w 12305293"/>
              <a:gd name="connsiteY915" fmla="*/ 3035572 h 3722511"/>
              <a:gd name="connsiteX916" fmla="*/ 3883174 w 12305293"/>
              <a:gd name="connsiteY916" fmla="*/ 3035572 h 3722511"/>
              <a:gd name="connsiteX917" fmla="*/ 3883174 w 12305293"/>
              <a:gd name="connsiteY917" fmla="*/ 2983115 h 3722511"/>
              <a:gd name="connsiteX918" fmla="*/ 3883174 w 12305293"/>
              <a:gd name="connsiteY918" fmla="*/ 2968827 h 3722511"/>
              <a:gd name="connsiteX919" fmla="*/ 3883174 w 12305293"/>
              <a:gd name="connsiteY919" fmla="*/ 2897387 h 3722511"/>
              <a:gd name="connsiteX920" fmla="*/ 3883174 w 12305293"/>
              <a:gd name="connsiteY920" fmla="*/ 2883099 h 3722511"/>
              <a:gd name="connsiteX921" fmla="*/ 3883174 w 12305293"/>
              <a:gd name="connsiteY921" fmla="*/ 2813247 h 3722511"/>
              <a:gd name="connsiteX922" fmla="*/ 3883174 w 12305293"/>
              <a:gd name="connsiteY922" fmla="*/ 2797371 h 3722511"/>
              <a:gd name="connsiteX923" fmla="*/ 3883174 w 12305293"/>
              <a:gd name="connsiteY923" fmla="*/ 2727519 h 3722511"/>
              <a:gd name="connsiteX924" fmla="*/ 3883174 w 12305293"/>
              <a:gd name="connsiteY924" fmla="*/ 2711643 h 3722511"/>
              <a:gd name="connsiteX925" fmla="*/ 3883174 w 12305293"/>
              <a:gd name="connsiteY925" fmla="*/ 2641791 h 3722511"/>
              <a:gd name="connsiteX926" fmla="*/ 3883174 w 12305293"/>
              <a:gd name="connsiteY926" fmla="*/ 2625915 h 3722511"/>
              <a:gd name="connsiteX927" fmla="*/ 3883174 w 12305293"/>
              <a:gd name="connsiteY927" fmla="*/ 2556063 h 3722511"/>
              <a:gd name="connsiteX928" fmla="*/ 3883174 w 12305293"/>
              <a:gd name="connsiteY928" fmla="*/ 2541775 h 3722511"/>
              <a:gd name="connsiteX929" fmla="*/ 3883196 w 12305293"/>
              <a:gd name="connsiteY929" fmla="*/ 2541775 h 3722511"/>
              <a:gd name="connsiteX930" fmla="*/ 3883196 w 12305293"/>
              <a:gd name="connsiteY930" fmla="*/ 2541774 h 3722511"/>
              <a:gd name="connsiteX931" fmla="*/ 3883174 w 12305293"/>
              <a:gd name="connsiteY931" fmla="*/ 2541774 h 3722511"/>
              <a:gd name="connsiteX932" fmla="*/ 3883174 w 12305293"/>
              <a:gd name="connsiteY932" fmla="*/ 2471922 h 3722511"/>
              <a:gd name="connsiteX933" fmla="*/ 3883174 w 12305293"/>
              <a:gd name="connsiteY933" fmla="*/ 2456046 h 3722511"/>
              <a:gd name="connsiteX934" fmla="*/ 3883174 w 12305293"/>
              <a:gd name="connsiteY934" fmla="*/ 2386194 h 3722511"/>
              <a:gd name="connsiteX935" fmla="*/ 3883174 w 12305293"/>
              <a:gd name="connsiteY935" fmla="*/ 2370318 h 3722511"/>
              <a:gd name="connsiteX936" fmla="*/ 3883174 w 12305293"/>
              <a:gd name="connsiteY936" fmla="*/ 2300466 h 3722511"/>
              <a:gd name="connsiteX937" fmla="*/ 3883174 w 12305293"/>
              <a:gd name="connsiteY937" fmla="*/ 2284590 h 3722511"/>
              <a:gd name="connsiteX938" fmla="*/ 3883174 w 12305293"/>
              <a:gd name="connsiteY938" fmla="*/ 2214738 h 3722511"/>
              <a:gd name="connsiteX939" fmla="*/ 3883174 w 12305293"/>
              <a:gd name="connsiteY939" fmla="*/ 2200450 h 3722511"/>
              <a:gd name="connsiteX940" fmla="*/ 3883174 w 12305293"/>
              <a:gd name="connsiteY940" fmla="*/ 2129010 h 3722511"/>
              <a:gd name="connsiteX941" fmla="*/ 3883174 w 12305293"/>
              <a:gd name="connsiteY941" fmla="*/ 2114722 h 3722511"/>
              <a:gd name="connsiteX942" fmla="*/ 3883196 w 12305293"/>
              <a:gd name="connsiteY942" fmla="*/ 2114722 h 3722511"/>
              <a:gd name="connsiteX943" fmla="*/ 3883196 w 12305293"/>
              <a:gd name="connsiteY943" fmla="*/ 2114721 h 3722511"/>
              <a:gd name="connsiteX944" fmla="*/ 3883174 w 12305293"/>
              <a:gd name="connsiteY944" fmla="*/ 2114721 h 3722511"/>
              <a:gd name="connsiteX945" fmla="*/ 3883174 w 12305293"/>
              <a:gd name="connsiteY945" fmla="*/ 2044870 h 3722511"/>
              <a:gd name="connsiteX946" fmla="*/ 3883174 w 12305293"/>
              <a:gd name="connsiteY946" fmla="*/ 2044869 h 3722511"/>
              <a:gd name="connsiteX947" fmla="*/ 3883174 w 12305293"/>
              <a:gd name="connsiteY947" fmla="*/ 2028994 h 3722511"/>
              <a:gd name="connsiteX948" fmla="*/ 3883196 w 12305293"/>
              <a:gd name="connsiteY948" fmla="*/ 2028994 h 3722511"/>
              <a:gd name="connsiteX949" fmla="*/ 3883196 w 12305293"/>
              <a:gd name="connsiteY949" fmla="*/ 2028993 h 3722511"/>
              <a:gd name="connsiteX950" fmla="*/ 3883174 w 12305293"/>
              <a:gd name="connsiteY950" fmla="*/ 2028993 h 3722511"/>
              <a:gd name="connsiteX951" fmla="*/ 3883174 w 12305293"/>
              <a:gd name="connsiteY951" fmla="*/ 1959142 h 3722511"/>
              <a:gd name="connsiteX952" fmla="*/ 3883174 w 12305293"/>
              <a:gd name="connsiteY952" fmla="*/ 1959141 h 3722511"/>
              <a:gd name="connsiteX953" fmla="*/ 3883174 w 12305293"/>
              <a:gd name="connsiteY953" fmla="*/ 1943266 h 3722511"/>
              <a:gd name="connsiteX954" fmla="*/ 3883174 w 12305293"/>
              <a:gd name="connsiteY954" fmla="*/ 1873414 h 3722511"/>
              <a:gd name="connsiteX955" fmla="*/ 3883174 w 12305293"/>
              <a:gd name="connsiteY955" fmla="*/ 1873413 h 3722511"/>
              <a:gd name="connsiteX956" fmla="*/ 3883174 w 12305293"/>
              <a:gd name="connsiteY956" fmla="*/ 1857538 h 3722511"/>
              <a:gd name="connsiteX957" fmla="*/ 3883174 w 12305293"/>
              <a:gd name="connsiteY957" fmla="*/ 1787685 h 3722511"/>
              <a:gd name="connsiteX958" fmla="*/ 3883174 w 12305293"/>
              <a:gd name="connsiteY958" fmla="*/ 1773397 h 3722511"/>
              <a:gd name="connsiteX959" fmla="*/ 3883174 w 12305293"/>
              <a:gd name="connsiteY959" fmla="*/ 1703545 h 3722511"/>
              <a:gd name="connsiteX960" fmla="*/ 3883174 w 12305293"/>
              <a:gd name="connsiteY960" fmla="*/ 1687669 h 3722511"/>
              <a:gd name="connsiteX961" fmla="*/ 3883174 w 12305293"/>
              <a:gd name="connsiteY961" fmla="*/ 1617817 h 3722511"/>
              <a:gd name="connsiteX962" fmla="*/ 3883174 w 12305293"/>
              <a:gd name="connsiteY962" fmla="*/ 1601941 h 3722511"/>
              <a:gd name="connsiteX963" fmla="*/ 3883174 w 12305293"/>
              <a:gd name="connsiteY963" fmla="*/ 1532089 h 3722511"/>
              <a:gd name="connsiteX964" fmla="*/ 3883174 w 12305293"/>
              <a:gd name="connsiteY964" fmla="*/ 1532088 h 3722511"/>
              <a:gd name="connsiteX965" fmla="*/ 3883174 w 12305293"/>
              <a:gd name="connsiteY965" fmla="*/ 1516213 h 3722511"/>
              <a:gd name="connsiteX966" fmla="*/ 3883174 w 12305293"/>
              <a:gd name="connsiteY966" fmla="*/ 1446361 h 3722511"/>
              <a:gd name="connsiteX967" fmla="*/ 3883174 w 12305293"/>
              <a:gd name="connsiteY967" fmla="*/ 1446360 h 3722511"/>
              <a:gd name="connsiteX968" fmla="*/ 3883174 w 12305293"/>
              <a:gd name="connsiteY968" fmla="*/ 1432073 h 3722511"/>
              <a:gd name="connsiteX969" fmla="*/ 3883196 w 12305293"/>
              <a:gd name="connsiteY969" fmla="*/ 1432073 h 3722511"/>
              <a:gd name="connsiteX970" fmla="*/ 3883196 w 12305293"/>
              <a:gd name="connsiteY970" fmla="*/ 1432072 h 3722511"/>
              <a:gd name="connsiteX971" fmla="*/ 3883174 w 12305293"/>
              <a:gd name="connsiteY971" fmla="*/ 1432072 h 3722511"/>
              <a:gd name="connsiteX972" fmla="*/ 3883174 w 12305293"/>
              <a:gd name="connsiteY972" fmla="*/ 1376508 h 3722511"/>
              <a:gd name="connsiteX973" fmla="*/ 3883174 w 12305293"/>
              <a:gd name="connsiteY973" fmla="*/ 1349520 h 3722511"/>
              <a:gd name="connsiteX974" fmla="*/ 3883196 w 12305293"/>
              <a:gd name="connsiteY974" fmla="*/ 1349520 h 3722511"/>
              <a:gd name="connsiteX975" fmla="*/ 3883196 w 12305293"/>
              <a:gd name="connsiteY975" fmla="*/ 1349421 h 3722511"/>
              <a:gd name="connsiteX976" fmla="*/ 3951218 w 12305293"/>
              <a:gd name="connsiteY976" fmla="*/ 1349421 h 3722511"/>
              <a:gd name="connsiteX977" fmla="*/ 3951218 w 12305293"/>
              <a:gd name="connsiteY977" fmla="*/ 1257441 h 3722511"/>
              <a:gd name="connsiteX978" fmla="*/ 3951218 w 12305293"/>
              <a:gd name="connsiteY978" fmla="*/ 1230453 h 3722511"/>
              <a:gd name="connsiteX979" fmla="*/ 3951239 w 12305293"/>
              <a:gd name="connsiteY979" fmla="*/ 1230453 h 3722511"/>
              <a:gd name="connsiteX980" fmla="*/ 3951239 w 12305293"/>
              <a:gd name="connsiteY980" fmla="*/ 1230359 h 3722511"/>
              <a:gd name="connsiteX981" fmla="*/ 4007942 w 12305293"/>
              <a:gd name="connsiteY981" fmla="*/ 1230359 h 3722511"/>
              <a:gd name="connsiteX982" fmla="*/ 4010692 w 12305293"/>
              <a:gd name="connsiteY982" fmla="*/ 1226414 h 3722511"/>
              <a:gd name="connsiteX983" fmla="*/ 4137527 w 12305293"/>
              <a:gd name="connsiteY983" fmla="*/ 1041534 h 3722511"/>
              <a:gd name="connsiteX984" fmla="*/ 4139543 w 12305293"/>
              <a:gd name="connsiteY984" fmla="*/ 1041534 h 3722511"/>
              <a:gd name="connsiteX985" fmla="*/ 4139543 w 12305293"/>
              <a:gd name="connsiteY985" fmla="*/ 1041533 h 3722511"/>
              <a:gd name="connsiteX986" fmla="*/ 4137527 w 12305293"/>
              <a:gd name="connsiteY986" fmla="*/ 1041533 h 3722511"/>
              <a:gd name="connsiteX987" fmla="*/ 4095405 w 12305293"/>
              <a:gd name="connsiteY987" fmla="*/ 1041533 h 3722511"/>
              <a:gd name="connsiteX988" fmla="*/ 4095405 w 12305293"/>
              <a:gd name="connsiteY988" fmla="*/ 992319 h 3722511"/>
              <a:gd name="connsiteX989" fmla="*/ 4095426 w 12305293"/>
              <a:gd name="connsiteY989" fmla="*/ 992319 h 3722511"/>
              <a:gd name="connsiteX990" fmla="*/ 4095426 w 12305293"/>
              <a:gd name="connsiteY990" fmla="*/ 992233 h 3722511"/>
              <a:gd name="connsiteX991" fmla="*/ 4178028 w 12305293"/>
              <a:gd name="connsiteY991" fmla="*/ 992233 h 3722511"/>
              <a:gd name="connsiteX992" fmla="*/ 4178028 w 12305293"/>
              <a:gd name="connsiteY992" fmla="*/ 990454 h 3722511"/>
              <a:gd name="connsiteX993" fmla="*/ 4178028 w 12305293"/>
              <a:gd name="connsiteY993" fmla="*/ 858349 h 3722511"/>
              <a:gd name="connsiteX994" fmla="*/ 4178051 w 12305293"/>
              <a:gd name="connsiteY994" fmla="*/ 858349 h 3722511"/>
              <a:gd name="connsiteX995" fmla="*/ 4178051 w 12305293"/>
              <a:gd name="connsiteY995" fmla="*/ 857377 h 3722511"/>
              <a:gd name="connsiteX996" fmla="*/ 4178029 w 12305293"/>
              <a:gd name="connsiteY996" fmla="*/ 857377 h 3722511"/>
              <a:gd name="connsiteX997" fmla="*/ 4153727 w 12305293"/>
              <a:gd name="connsiteY997" fmla="*/ 857377 h 3722511"/>
              <a:gd name="connsiteX998" fmla="*/ 4153727 w 12305293"/>
              <a:gd name="connsiteY998" fmla="*/ 836739 h 3722511"/>
              <a:gd name="connsiteX999" fmla="*/ 4153749 w 12305293"/>
              <a:gd name="connsiteY999" fmla="*/ 836739 h 3722511"/>
              <a:gd name="connsiteX1000" fmla="*/ 4153749 w 12305293"/>
              <a:gd name="connsiteY1000" fmla="*/ 836658 h 3722511"/>
              <a:gd name="connsiteX1001" fmla="*/ 4178028 w 12305293"/>
              <a:gd name="connsiteY1001" fmla="*/ 836658 h 3722511"/>
              <a:gd name="connsiteX1002" fmla="*/ 4178028 w 12305293"/>
              <a:gd name="connsiteY1002" fmla="*/ 834616 h 3722511"/>
              <a:gd name="connsiteX1003" fmla="*/ 4178028 w 12305293"/>
              <a:gd name="connsiteY1003" fmla="*/ 684497 h 3722511"/>
              <a:gd name="connsiteX1004" fmla="*/ 4178051 w 12305293"/>
              <a:gd name="connsiteY1004" fmla="*/ 684497 h 3722511"/>
              <a:gd name="connsiteX1005" fmla="*/ 4178051 w 12305293"/>
              <a:gd name="connsiteY1005" fmla="*/ 684333 h 3722511"/>
              <a:gd name="connsiteX1006" fmla="*/ 4178029 w 12305293"/>
              <a:gd name="connsiteY1006" fmla="*/ 684333 h 3722511"/>
              <a:gd name="connsiteX1007" fmla="*/ 4153727 w 12305293"/>
              <a:gd name="connsiteY1007" fmla="*/ 684333 h 3722511"/>
              <a:gd name="connsiteX1008" fmla="*/ 4153727 w 12305293"/>
              <a:gd name="connsiteY1008" fmla="*/ 663695 h 3722511"/>
              <a:gd name="connsiteX1009" fmla="*/ 4153749 w 12305293"/>
              <a:gd name="connsiteY1009" fmla="*/ 663695 h 3722511"/>
              <a:gd name="connsiteX1010" fmla="*/ 4153749 w 12305293"/>
              <a:gd name="connsiteY1010" fmla="*/ 663620 h 3722511"/>
              <a:gd name="connsiteX1011" fmla="*/ 4178051 w 12305293"/>
              <a:gd name="connsiteY1011" fmla="*/ 663620 h 3722511"/>
              <a:gd name="connsiteX1012" fmla="*/ 4178051 w 12305293"/>
              <a:gd name="connsiteY1012" fmla="*/ 663147 h 3722511"/>
              <a:gd name="connsiteX1013" fmla="*/ 4178028 w 12305293"/>
              <a:gd name="connsiteY1013" fmla="*/ 663147 h 3722511"/>
              <a:gd name="connsiteX1014" fmla="*/ 4178028 w 12305293"/>
              <a:gd name="connsiteY1014" fmla="*/ 560982 h 3722511"/>
              <a:gd name="connsiteX1015" fmla="*/ 4178028 w 12305293"/>
              <a:gd name="connsiteY1015" fmla="*/ 511290 h 3722511"/>
              <a:gd name="connsiteX1016" fmla="*/ 4153727 w 12305293"/>
              <a:gd name="connsiteY1016" fmla="*/ 511290 h 3722511"/>
              <a:gd name="connsiteX1017" fmla="*/ 4153727 w 12305293"/>
              <a:gd name="connsiteY1017" fmla="*/ 489064 h 3722511"/>
              <a:gd name="connsiteX1018" fmla="*/ 4153749 w 12305293"/>
              <a:gd name="connsiteY1018" fmla="*/ 489064 h 3722511"/>
              <a:gd name="connsiteX1019" fmla="*/ 4153749 w 12305293"/>
              <a:gd name="connsiteY1019" fmla="*/ 488994 h 3722511"/>
              <a:gd name="connsiteX1020" fmla="*/ 4178028 w 12305293"/>
              <a:gd name="connsiteY1020" fmla="*/ 488994 h 3722511"/>
              <a:gd name="connsiteX1021" fmla="*/ 4178028 w 12305293"/>
              <a:gd name="connsiteY1021" fmla="*/ 486864 h 3722511"/>
              <a:gd name="connsiteX1022" fmla="*/ 4178028 w 12305293"/>
              <a:gd name="connsiteY1022" fmla="*/ 333743 h 3722511"/>
              <a:gd name="connsiteX1023" fmla="*/ 4178051 w 12305293"/>
              <a:gd name="connsiteY1023" fmla="*/ 333743 h 3722511"/>
              <a:gd name="connsiteX1024" fmla="*/ 4178051 w 12305293"/>
              <a:gd name="connsiteY1024" fmla="*/ 333483 h 3722511"/>
              <a:gd name="connsiteX1025" fmla="*/ 4178029 w 12305293"/>
              <a:gd name="connsiteY1025" fmla="*/ 333483 h 3722511"/>
              <a:gd name="connsiteX1026" fmla="*/ 4153727 w 12305293"/>
              <a:gd name="connsiteY1026" fmla="*/ 333483 h 3722511"/>
              <a:gd name="connsiteX1027" fmla="*/ 4153727 w 12305293"/>
              <a:gd name="connsiteY1027" fmla="*/ 316020 h 3722511"/>
              <a:gd name="connsiteX1028" fmla="*/ 4153749 w 12305293"/>
              <a:gd name="connsiteY1028" fmla="*/ 316020 h 3722511"/>
              <a:gd name="connsiteX1029" fmla="*/ 4153749 w 12305293"/>
              <a:gd name="connsiteY1029" fmla="*/ 315956 h 3722511"/>
              <a:gd name="connsiteX1030" fmla="*/ 4178051 w 12305293"/>
              <a:gd name="connsiteY1030" fmla="*/ 315956 h 3722511"/>
              <a:gd name="connsiteX1031" fmla="*/ 4178051 w 12305293"/>
              <a:gd name="connsiteY1031" fmla="*/ 315443 h 3722511"/>
              <a:gd name="connsiteX1032" fmla="*/ 4178028 w 12305293"/>
              <a:gd name="connsiteY1032" fmla="*/ 315443 h 3722511"/>
              <a:gd name="connsiteX1033" fmla="*/ 4178028 w 12305293"/>
              <a:gd name="connsiteY1033" fmla="*/ 233092 h 3722511"/>
              <a:gd name="connsiteX1034" fmla="*/ 4178051 w 12305293"/>
              <a:gd name="connsiteY1034" fmla="*/ 233071 h 3722511"/>
              <a:gd name="connsiteX1035" fmla="*/ 4178051 w 12305293"/>
              <a:gd name="connsiteY1035" fmla="*/ 233031 h 3722511"/>
              <a:gd name="connsiteX1036" fmla="*/ 4187771 w 12305293"/>
              <a:gd name="connsiteY1036" fmla="*/ 223881 h 3722511"/>
              <a:gd name="connsiteX1037" fmla="*/ 8553199 w 12305293"/>
              <a:gd name="connsiteY1037" fmla="*/ 0 h 3722511"/>
              <a:gd name="connsiteX1038" fmla="*/ 8580741 w 12305293"/>
              <a:gd name="connsiteY1038" fmla="*/ 0 h 3722511"/>
              <a:gd name="connsiteX1039" fmla="*/ 8580741 w 12305293"/>
              <a:gd name="connsiteY1039" fmla="*/ 163512 h 3722511"/>
              <a:gd name="connsiteX1040" fmla="*/ 8608282 w 12305293"/>
              <a:gd name="connsiteY1040" fmla="*/ 163512 h 3722511"/>
              <a:gd name="connsiteX1041" fmla="*/ 8608282 w 12305293"/>
              <a:gd name="connsiteY1041" fmla="*/ 163513 h 3722511"/>
              <a:gd name="connsiteX1042" fmla="*/ 8608282 w 12305293"/>
              <a:gd name="connsiteY1042" fmla="*/ 290512 h 3722511"/>
              <a:gd name="connsiteX1043" fmla="*/ 8608282 w 12305293"/>
              <a:gd name="connsiteY1043" fmla="*/ 301625 h 3722511"/>
              <a:gd name="connsiteX1044" fmla="*/ 8608282 w 12305293"/>
              <a:gd name="connsiteY1044" fmla="*/ 427037 h 3722511"/>
              <a:gd name="connsiteX1045" fmla="*/ 8634203 w 12305293"/>
              <a:gd name="connsiteY1045" fmla="*/ 427037 h 3722511"/>
              <a:gd name="connsiteX1046" fmla="*/ 8634203 w 12305293"/>
              <a:gd name="connsiteY1046" fmla="*/ 549275 h 3722511"/>
              <a:gd name="connsiteX1047" fmla="*/ 8634203 w 12305293"/>
              <a:gd name="connsiteY1047" fmla="*/ 755650 h 3722511"/>
              <a:gd name="connsiteX1048" fmla="*/ 8637443 w 12305293"/>
              <a:gd name="connsiteY1048" fmla="*/ 755650 h 3722511"/>
              <a:gd name="connsiteX1049" fmla="*/ 8655264 w 12305293"/>
              <a:gd name="connsiteY1049" fmla="*/ 755650 h 3722511"/>
              <a:gd name="connsiteX1050" fmla="*/ 8655265 w 12305293"/>
              <a:gd name="connsiteY1050" fmla="*/ 755650 h 3722511"/>
              <a:gd name="connsiteX1051" fmla="*/ 8655265 w 12305293"/>
              <a:gd name="connsiteY1051" fmla="*/ 933450 h 3722511"/>
              <a:gd name="connsiteX1052" fmla="*/ 8655265 w 12305293"/>
              <a:gd name="connsiteY1052" fmla="*/ 1084262 h 3722511"/>
              <a:gd name="connsiteX1053" fmla="*/ 8656884 w 12305293"/>
              <a:gd name="connsiteY1053" fmla="*/ 1084262 h 3722511"/>
              <a:gd name="connsiteX1054" fmla="*/ 8716827 w 12305293"/>
              <a:gd name="connsiteY1054" fmla="*/ 1084262 h 3722511"/>
              <a:gd name="connsiteX1055" fmla="*/ 8716827 w 12305293"/>
              <a:gd name="connsiteY1055" fmla="*/ 1084263 h 3722511"/>
              <a:gd name="connsiteX1056" fmla="*/ 8711967 w 12305293"/>
              <a:gd name="connsiteY1056" fmla="*/ 1447800 h 3722511"/>
              <a:gd name="connsiteX1057" fmla="*/ 8711967 w 12305293"/>
              <a:gd name="connsiteY1057" fmla="*/ 1460500 h 3722511"/>
              <a:gd name="connsiteX1058" fmla="*/ 8711967 w 12305293"/>
              <a:gd name="connsiteY1058" fmla="*/ 1757362 h 3722511"/>
              <a:gd name="connsiteX1059" fmla="*/ 8778390 w 12305293"/>
              <a:gd name="connsiteY1059" fmla="*/ 1757362 h 3722511"/>
              <a:gd name="connsiteX1060" fmla="*/ 8778390 w 12305293"/>
              <a:gd name="connsiteY1060" fmla="*/ 2146891 h 3722511"/>
              <a:gd name="connsiteX1061" fmla="*/ 8780899 w 12305293"/>
              <a:gd name="connsiteY1061" fmla="*/ 2146891 h 3722511"/>
              <a:gd name="connsiteX1062" fmla="*/ 8980115 w 12305293"/>
              <a:gd name="connsiteY1062" fmla="*/ 2146891 h 3722511"/>
              <a:gd name="connsiteX1063" fmla="*/ 8980115 w 12305293"/>
              <a:gd name="connsiteY1063" fmla="*/ 2586156 h 3722511"/>
              <a:gd name="connsiteX1064" fmla="*/ 9033913 w 12305293"/>
              <a:gd name="connsiteY1064" fmla="*/ 2586156 h 3722511"/>
              <a:gd name="connsiteX1065" fmla="*/ 9033913 w 12305293"/>
              <a:gd name="connsiteY1065" fmla="*/ 2960159 h 3722511"/>
              <a:gd name="connsiteX1066" fmla="*/ 9005734 w 12305293"/>
              <a:gd name="connsiteY1066" fmla="*/ 2960159 h 3722511"/>
              <a:gd name="connsiteX1067" fmla="*/ 9005734 w 12305293"/>
              <a:gd name="connsiteY1067" fmla="*/ 2960611 h 3722511"/>
              <a:gd name="connsiteX1068" fmla="*/ 9034385 w 12305293"/>
              <a:gd name="connsiteY1068" fmla="*/ 2960611 h 3722511"/>
              <a:gd name="connsiteX1069" fmla="*/ 9034385 w 12305293"/>
              <a:gd name="connsiteY1069" fmla="*/ 1425611 h 3722511"/>
              <a:gd name="connsiteX1070" fmla="*/ 9034496 w 12305293"/>
              <a:gd name="connsiteY1070" fmla="*/ 1425611 h 3722511"/>
              <a:gd name="connsiteX1071" fmla="*/ 9034496 w 12305293"/>
              <a:gd name="connsiteY1071" fmla="*/ 1402557 h 3722511"/>
              <a:gd name="connsiteX1072" fmla="*/ 9034385 w 12305293"/>
              <a:gd name="connsiteY1072" fmla="*/ 1401799 h 3722511"/>
              <a:gd name="connsiteX1073" fmla="*/ 9034496 w 12305293"/>
              <a:gd name="connsiteY1073" fmla="*/ 1400931 h 3722511"/>
              <a:gd name="connsiteX1074" fmla="*/ 9034496 w 12305293"/>
              <a:gd name="connsiteY1074" fmla="*/ 1377994 h 3722511"/>
              <a:gd name="connsiteX1075" fmla="*/ 9037436 w 12305293"/>
              <a:gd name="connsiteY1075" fmla="*/ 1377994 h 3722511"/>
              <a:gd name="connsiteX1076" fmla="*/ 9046280 w 12305293"/>
              <a:gd name="connsiteY1076" fmla="*/ 1309006 h 3722511"/>
              <a:gd name="connsiteX1077" fmla="*/ 9190908 w 12305293"/>
              <a:gd name="connsiteY1077" fmla="*/ 1137403 h 3722511"/>
              <a:gd name="connsiteX1078" fmla="*/ 9207733 w 12305293"/>
              <a:gd name="connsiteY1078" fmla="*/ 1135068 h 3722511"/>
              <a:gd name="connsiteX1079" fmla="*/ 9207733 w 12305293"/>
              <a:gd name="connsiteY1079" fmla="*/ 893792 h 3722511"/>
              <a:gd name="connsiteX1080" fmla="*/ 9251476 w 12305293"/>
              <a:gd name="connsiteY1080" fmla="*/ 893792 h 3722511"/>
              <a:gd name="connsiteX1081" fmla="*/ 9251476 w 12305293"/>
              <a:gd name="connsiteY1081" fmla="*/ 1134843 h 3722511"/>
              <a:gd name="connsiteX1082" fmla="*/ 9269921 w 12305293"/>
              <a:gd name="connsiteY1082" fmla="*/ 1137403 h 3722511"/>
              <a:gd name="connsiteX1083" fmla="*/ 9414549 w 12305293"/>
              <a:gd name="connsiteY1083" fmla="*/ 1309006 h 3722511"/>
              <a:gd name="connsiteX1084" fmla="*/ 9423392 w 12305293"/>
              <a:gd name="connsiteY1084" fmla="*/ 1377994 h 3722511"/>
              <a:gd name="connsiteX1085" fmla="*/ 9426562 w 12305293"/>
              <a:gd name="connsiteY1085" fmla="*/ 1377994 h 3722511"/>
              <a:gd name="connsiteX1086" fmla="*/ 9426562 w 12305293"/>
              <a:gd name="connsiteY1086" fmla="*/ 1425620 h 3722511"/>
              <a:gd name="connsiteX1087" fmla="*/ 9426444 w 12305293"/>
              <a:gd name="connsiteY1087" fmla="*/ 1425620 h 3722511"/>
              <a:gd name="connsiteX1088" fmla="*/ 9426444 w 12305293"/>
              <a:gd name="connsiteY1088" fmla="*/ 2312557 h 3722511"/>
              <a:gd name="connsiteX1089" fmla="*/ 9427505 w 12305293"/>
              <a:gd name="connsiteY1089" fmla="*/ 2312557 h 3722511"/>
              <a:gd name="connsiteX1090" fmla="*/ 9530896 w 12305293"/>
              <a:gd name="connsiteY1090" fmla="*/ 2312557 h 3722511"/>
              <a:gd name="connsiteX1091" fmla="*/ 9530896 w 12305293"/>
              <a:gd name="connsiteY1091" fmla="*/ 2960159 h 3722511"/>
              <a:gd name="connsiteX1092" fmla="*/ 9486586 w 12305293"/>
              <a:gd name="connsiteY1092" fmla="*/ 2960159 h 3722511"/>
              <a:gd name="connsiteX1093" fmla="*/ 9426444 w 12305293"/>
              <a:gd name="connsiteY1093" fmla="*/ 2960159 h 3722511"/>
              <a:gd name="connsiteX1094" fmla="*/ 9426444 w 12305293"/>
              <a:gd name="connsiteY1094" fmla="*/ 2960611 h 3722511"/>
              <a:gd name="connsiteX1095" fmla="*/ 9531754 w 12305293"/>
              <a:gd name="connsiteY1095" fmla="*/ 2960611 h 3722511"/>
              <a:gd name="connsiteX1096" fmla="*/ 9531754 w 12305293"/>
              <a:gd name="connsiteY1096" fmla="*/ 2932037 h 3722511"/>
              <a:gd name="connsiteX1097" fmla="*/ 9531754 w 12305293"/>
              <a:gd name="connsiteY1097" fmla="*/ 2909812 h 3722511"/>
              <a:gd name="connsiteX1098" fmla="*/ 9531754 w 12305293"/>
              <a:gd name="connsiteY1098" fmla="*/ 2874887 h 3722511"/>
              <a:gd name="connsiteX1099" fmla="*/ 9531754 w 12305293"/>
              <a:gd name="connsiteY1099" fmla="*/ 2854250 h 3722511"/>
              <a:gd name="connsiteX1100" fmla="*/ 9531754 w 12305293"/>
              <a:gd name="connsiteY1100" fmla="*/ 2817738 h 3722511"/>
              <a:gd name="connsiteX1101" fmla="*/ 9531754 w 12305293"/>
              <a:gd name="connsiteY1101" fmla="*/ 2797101 h 3722511"/>
              <a:gd name="connsiteX1102" fmla="*/ 9531754 w 12305293"/>
              <a:gd name="connsiteY1102" fmla="*/ 2759002 h 3722511"/>
              <a:gd name="connsiteX1103" fmla="*/ 9531754 w 12305293"/>
              <a:gd name="connsiteY1103" fmla="*/ 2739952 h 3722511"/>
              <a:gd name="connsiteX1104" fmla="*/ 9531754 w 12305293"/>
              <a:gd name="connsiteY1104" fmla="*/ 2701853 h 3722511"/>
              <a:gd name="connsiteX1105" fmla="*/ 9531754 w 12305293"/>
              <a:gd name="connsiteY1105" fmla="*/ 2681216 h 3722511"/>
              <a:gd name="connsiteX1106" fmla="*/ 9531754 w 12305293"/>
              <a:gd name="connsiteY1106" fmla="*/ 2643117 h 3722511"/>
              <a:gd name="connsiteX1107" fmla="*/ 9531754 w 12305293"/>
              <a:gd name="connsiteY1107" fmla="*/ 2624067 h 3722511"/>
              <a:gd name="connsiteX1108" fmla="*/ 9531754 w 12305293"/>
              <a:gd name="connsiteY1108" fmla="*/ 2585967 h 3722511"/>
              <a:gd name="connsiteX1109" fmla="*/ 9531754 w 12305293"/>
              <a:gd name="connsiteY1109" fmla="*/ 2565330 h 3722511"/>
              <a:gd name="connsiteX1110" fmla="*/ 9531754 w 12305293"/>
              <a:gd name="connsiteY1110" fmla="*/ 2528818 h 3722511"/>
              <a:gd name="connsiteX1111" fmla="*/ 9531754 w 12305293"/>
              <a:gd name="connsiteY1111" fmla="*/ 2508181 h 3722511"/>
              <a:gd name="connsiteX1112" fmla="*/ 9531754 w 12305293"/>
              <a:gd name="connsiteY1112" fmla="*/ 2470082 h 3722511"/>
              <a:gd name="connsiteX1113" fmla="*/ 9531754 w 12305293"/>
              <a:gd name="connsiteY1113" fmla="*/ 2451032 h 3722511"/>
              <a:gd name="connsiteX1114" fmla="*/ 9531754 w 12305293"/>
              <a:gd name="connsiteY1114" fmla="*/ 2412933 h 3722511"/>
              <a:gd name="connsiteX1115" fmla="*/ 9531754 w 12305293"/>
              <a:gd name="connsiteY1115" fmla="*/ 2392296 h 3722511"/>
              <a:gd name="connsiteX1116" fmla="*/ 9531754 w 12305293"/>
              <a:gd name="connsiteY1116" fmla="*/ 2355784 h 3722511"/>
              <a:gd name="connsiteX1117" fmla="*/ 9531754 w 12305293"/>
              <a:gd name="connsiteY1117" fmla="*/ 2335147 h 3722511"/>
              <a:gd name="connsiteX1118" fmla="*/ 9531754 w 12305293"/>
              <a:gd name="connsiteY1118" fmla="*/ 2297047 h 3722511"/>
              <a:gd name="connsiteX1119" fmla="*/ 9531754 w 12305293"/>
              <a:gd name="connsiteY1119" fmla="*/ 2276410 h 3722511"/>
              <a:gd name="connsiteX1120" fmla="*/ 9531754 w 12305293"/>
              <a:gd name="connsiteY1120" fmla="*/ 2239898 h 3722511"/>
              <a:gd name="connsiteX1121" fmla="*/ 9531754 w 12305293"/>
              <a:gd name="connsiteY1121" fmla="*/ 2219261 h 3722511"/>
              <a:gd name="connsiteX1122" fmla="*/ 9531754 w 12305293"/>
              <a:gd name="connsiteY1122" fmla="*/ 2184337 h 3722511"/>
              <a:gd name="connsiteX1123" fmla="*/ 9531754 w 12305293"/>
              <a:gd name="connsiteY1123" fmla="*/ 2162112 h 3722511"/>
              <a:gd name="connsiteX1124" fmla="*/ 9531754 w 12305293"/>
              <a:gd name="connsiteY1124" fmla="*/ 2127188 h 3722511"/>
              <a:gd name="connsiteX1125" fmla="*/ 9531754 w 12305293"/>
              <a:gd name="connsiteY1125" fmla="*/ 2103376 h 3722511"/>
              <a:gd name="connsiteX1126" fmla="*/ 9531754 w 12305293"/>
              <a:gd name="connsiteY1126" fmla="*/ 2041464 h 3722511"/>
              <a:gd name="connsiteX1127" fmla="*/ 9586837 w 12305293"/>
              <a:gd name="connsiteY1127" fmla="*/ 2041464 h 3722511"/>
              <a:gd name="connsiteX1128" fmla="*/ 9586837 w 12305293"/>
              <a:gd name="connsiteY1128" fmla="*/ 2003544 h 3722511"/>
              <a:gd name="connsiteX1129" fmla="*/ 9585197 w 12305293"/>
              <a:gd name="connsiteY1129" fmla="*/ 2003544 h 3722511"/>
              <a:gd name="connsiteX1130" fmla="*/ 9554435 w 12305293"/>
              <a:gd name="connsiteY1130" fmla="*/ 1965981 h 3722511"/>
              <a:gd name="connsiteX1131" fmla="*/ 9659536 w 12305293"/>
              <a:gd name="connsiteY1131" fmla="*/ 1838268 h 3722511"/>
              <a:gd name="connsiteX1132" fmla="*/ 9735237 w 12305293"/>
              <a:gd name="connsiteY1132" fmla="*/ 1838268 h 3722511"/>
              <a:gd name="connsiteX1133" fmla="*/ 9747225 w 12305293"/>
              <a:gd name="connsiteY1133" fmla="*/ 1838268 h 3722511"/>
              <a:gd name="connsiteX1134" fmla="*/ 9747225 w 12305293"/>
              <a:gd name="connsiteY1134" fmla="*/ 1704920 h 3722511"/>
              <a:gd name="connsiteX1135" fmla="*/ 9765046 w 12305293"/>
              <a:gd name="connsiteY1135" fmla="*/ 1704920 h 3722511"/>
              <a:gd name="connsiteX1136" fmla="*/ 9765046 w 12305293"/>
              <a:gd name="connsiteY1136" fmla="*/ 1838268 h 3722511"/>
              <a:gd name="connsiteX1137" fmla="*/ 9779736 w 12305293"/>
              <a:gd name="connsiteY1137" fmla="*/ 1838268 h 3722511"/>
              <a:gd name="connsiteX1138" fmla="*/ 9854356 w 12305293"/>
              <a:gd name="connsiteY1138" fmla="*/ 1838268 h 3722511"/>
              <a:gd name="connsiteX1139" fmla="*/ 9959456 w 12305293"/>
              <a:gd name="connsiteY1139" fmla="*/ 1965981 h 3722511"/>
              <a:gd name="connsiteX1140" fmla="*/ 9928695 w 12305293"/>
              <a:gd name="connsiteY1140" fmla="*/ 2003544 h 3722511"/>
              <a:gd name="connsiteX1141" fmla="*/ 9928674 w 12305293"/>
              <a:gd name="connsiteY1141" fmla="*/ 2003544 h 3722511"/>
              <a:gd name="connsiteX1142" fmla="*/ 9928674 w 12305293"/>
              <a:gd name="connsiteY1142" fmla="*/ 2041464 h 3722511"/>
              <a:gd name="connsiteX1143" fmla="*/ 10027499 w 12305293"/>
              <a:gd name="connsiteY1143" fmla="*/ 2041464 h 3722511"/>
              <a:gd name="connsiteX1144" fmla="*/ 10027499 w 12305293"/>
              <a:gd name="connsiteY1144" fmla="*/ 2103376 h 3722511"/>
              <a:gd name="connsiteX1145" fmla="*/ 10027499 w 12305293"/>
              <a:gd name="connsiteY1145" fmla="*/ 2127188 h 3722511"/>
              <a:gd name="connsiteX1146" fmla="*/ 10027499 w 12305293"/>
              <a:gd name="connsiteY1146" fmla="*/ 2162112 h 3722511"/>
              <a:gd name="connsiteX1147" fmla="*/ 10027499 w 12305293"/>
              <a:gd name="connsiteY1147" fmla="*/ 2184337 h 3722511"/>
              <a:gd name="connsiteX1148" fmla="*/ 10027499 w 12305293"/>
              <a:gd name="connsiteY1148" fmla="*/ 2219261 h 3722511"/>
              <a:gd name="connsiteX1149" fmla="*/ 10027499 w 12305293"/>
              <a:gd name="connsiteY1149" fmla="*/ 2239898 h 3722511"/>
              <a:gd name="connsiteX1150" fmla="*/ 10027499 w 12305293"/>
              <a:gd name="connsiteY1150" fmla="*/ 2276410 h 3722511"/>
              <a:gd name="connsiteX1151" fmla="*/ 10027499 w 12305293"/>
              <a:gd name="connsiteY1151" fmla="*/ 2297047 h 3722511"/>
              <a:gd name="connsiteX1152" fmla="*/ 10027499 w 12305293"/>
              <a:gd name="connsiteY1152" fmla="*/ 2335147 h 3722511"/>
              <a:gd name="connsiteX1153" fmla="*/ 10027499 w 12305293"/>
              <a:gd name="connsiteY1153" fmla="*/ 2355784 h 3722511"/>
              <a:gd name="connsiteX1154" fmla="*/ 10027499 w 12305293"/>
              <a:gd name="connsiteY1154" fmla="*/ 2392296 h 3722511"/>
              <a:gd name="connsiteX1155" fmla="*/ 10027499 w 12305293"/>
              <a:gd name="connsiteY1155" fmla="*/ 2412933 h 3722511"/>
              <a:gd name="connsiteX1156" fmla="*/ 10027499 w 12305293"/>
              <a:gd name="connsiteY1156" fmla="*/ 2451032 h 3722511"/>
              <a:gd name="connsiteX1157" fmla="*/ 10027499 w 12305293"/>
              <a:gd name="connsiteY1157" fmla="*/ 2470082 h 3722511"/>
              <a:gd name="connsiteX1158" fmla="*/ 10027499 w 12305293"/>
              <a:gd name="connsiteY1158" fmla="*/ 2508181 h 3722511"/>
              <a:gd name="connsiteX1159" fmla="*/ 10027499 w 12305293"/>
              <a:gd name="connsiteY1159" fmla="*/ 2528818 h 3722511"/>
              <a:gd name="connsiteX1160" fmla="*/ 10027499 w 12305293"/>
              <a:gd name="connsiteY1160" fmla="*/ 2565330 h 3722511"/>
              <a:gd name="connsiteX1161" fmla="*/ 10027499 w 12305293"/>
              <a:gd name="connsiteY1161" fmla="*/ 2578029 h 3722511"/>
              <a:gd name="connsiteX1162" fmla="*/ 10027499 w 12305293"/>
              <a:gd name="connsiteY1162" fmla="*/ 2585967 h 3722511"/>
              <a:gd name="connsiteX1163" fmla="*/ 10027499 w 12305293"/>
              <a:gd name="connsiteY1163" fmla="*/ 2624067 h 3722511"/>
              <a:gd name="connsiteX1164" fmla="*/ 10027499 w 12305293"/>
              <a:gd name="connsiteY1164" fmla="*/ 2643117 h 3722511"/>
              <a:gd name="connsiteX1165" fmla="*/ 10027499 w 12305293"/>
              <a:gd name="connsiteY1165" fmla="*/ 2681216 h 3722511"/>
              <a:gd name="connsiteX1166" fmla="*/ 10027499 w 12305293"/>
              <a:gd name="connsiteY1166" fmla="*/ 2701853 h 3722511"/>
              <a:gd name="connsiteX1167" fmla="*/ 10027499 w 12305293"/>
              <a:gd name="connsiteY1167" fmla="*/ 2739952 h 3722511"/>
              <a:gd name="connsiteX1168" fmla="*/ 10027499 w 12305293"/>
              <a:gd name="connsiteY1168" fmla="*/ 2759002 h 3722511"/>
              <a:gd name="connsiteX1169" fmla="*/ 10027499 w 12305293"/>
              <a:gd name="connsiteY1169" fmla="*/ 2797101 h 3722511"/>
              <a:gd name="connsiteX1170" fmla="*/ 10027499 w 12305293"/>
              <a:gd name="connsiteY1170" fmla="*/ 2817738 h 3722511"/>
              <a:gd name="connsiteX1171" fmla="*/ 10027499 w 12305293"/>
              <a:gd name="connsiteY1171" fmla="*/ 2854250 h 3722511"/>
              <a:gd name="connsiteX1172" fmla="*/ 10027499 w 12305293"/>
              <a:gd name="connsiteY1172" fmla="*/ 2874887 h 3722511"/>
              <a:gd name="connsiteX1173" fmla="*/ 10027499 w 12305293"/>
              <a:gd name="connsiteY1173" fmla="*/ 2909812 h 3722511"/>
              <a:gd name="connsiteX1174" fmla="*/ 10027499 w 12305293"/>
              <a:gd name="connsiteY1174" fmla="*/ 2932037 h 3722511"/>
              <a:gd name="connsiteX1175" fmla="*/ 10027499 w 12305293"/>
              <a:gd name="connsiteY1175" fmla="*/ 2966961 h 3722511"/>
              <a:gd name="connsiteX1176" fmla="*/ 10027499 w 12305293"/>
              <a:gd name="connsiteY1176" fmla="*/ 2990773 h 3722511"/>
              <a:gd name="connsiteX1177" fmla="*/ 10027499 w 12305293"/>
              <a:gd name="connsiteY1177" fmla="*/ 3025698 h 3722511"/>
              <a:gd name="connsiteX1178" fmla="*/ 10027499 w 12305293"/>
              <a:gd name="connsiteY1178" fmla="*/ 3047923 h 3722511"/>
              <a:gd name="connsiteX1179" fmla="*/ 10027499 w 12305293"/>
              <a:gd name="connsiteY1179" fmla="*/ 3082847 h 3722511"/>
              <a:gd name="connsiteX1180" fmla="*/ 10027499 w 12305293"/>
              <a:gd name="connsiteY1180" fmla="*/ 3103484 h 3722511"/>
              <a:gd name="connsiteX1181" fmla="*/ 10027499 w 12305293"/>
              <a:gd name="connsiteY1181" fmla="*/ 3141583 h 3722511"/>
              <a:gd name="connsiteX1182" fmla="*/ 10027499 w 12305293"/>
              <a:gd name="connsiteY1182" fmla="*/ 3160633 h 3722511"/>
              <a:gd name="connsiteX1183" fmla="*/ 10027499 w 12305293"/>
              <a:gd name="connsiteY1183" fmla="*/ 3198732 h 3722511"/>
              <a:gd name="connsiteX1184" fmla="*/ 10027499 w 12305293"/>
              <a:gd name="connsiteY1184" fmla="*/ 3219369 h 3722511"/>
              <a:gd name="connsiteX1185" fmla="*/ 10027499 w 12305293"/>
              <a:gd name="connsiteY1185" fmla="*/ 3255881 h 3722511"/>
              <a:gd name="connsiteX1186" fmla="*/ 10027499 w 12305293"/>
              <a:gd name="connsiteY1186" fmla="*/ 3276518 h 3722511"/>
              <a:gd name="connsiteX1187" fmla="*/ 10027499 w 12305293"/>
              <a:gd name="connsiteY1187" fmla="*/ 3314618 h 3722511"/>
              <a:gd name="connsiteX1188" fmla="*/ 10027499 w 12305293"/>
              <a:gd name="connsiteY1188" fmla="*/ 3333668 h 3722511"/>
              <a:gd name="connsiteX1189" fmla="*/ 10027499 w 12305293"/>
              <a:gd name="connsiteY1189" fmla="*/ 3371767 h 3722511"/>
              <a:gd name="connsiteX1190" fmla="*/ 10027499 w 12305293"/>
              <a:gd name="connsiteY1190" fmla="*/ 3392404 h 3722511"/>
              <a:gd name="connsiteX1191" fmla="*/ 10027499 w 12305293"/>
              <a:gd name="connsiteY1191" fmla="*/ 3430503 h 3722511"/>
              <a:gd name="connsiteX1192" fmla="*/ 10027499 w 12305293"/>
              <a:gd name="connsiteY1192" fmla="*/ 3449553 h 3722511"/>
              <a:gd name="connsiteX1193" fmla="*/ 10027499 w 12305293"/>
              <a:gd name="connsiteY1193" fmla="*/ 3487652 h 3722511"/>
              <a:gd name="connsiteX1194" fmla="*/ 10027499 w 12305293"/>
              <a:gd name="connsiteY1194" fmla="*/ 3508289 h 3722511"/>
              <a:gd name="connsiteX1195" fmla="*/ 10027499 w 12305293"/>
              <a:gd name="connsiteY1195" fmla="*/ 3544801 h 3722511"/>
              <a:gd name="connsiteX1196" fmla="*/ 10027499 w 12305293"/>
              <a:gd name="connsiteY1196" fmla="*/ 3565438 h 3722511"/>
              <a:gd name="connsiteX1197" fmla="*/ 10027499 w 12305293"/>
              <a:gd name="connsiteY1197" fmla="*/ 3603538 h 3722511"/>
              <a:gd name="connsiteX1198" fmla="*/ 10027499 w 12305293"/>
              <a:gd name="connsiteY1198" fmla="*/ 3622588 h 3722511"/>
              <a:gd name="connsiteX1199" fmla="*/ 10027499 w 12305293"/>
              <a:gd name="connsiteY1199" fmla="*/ 3660687 h 3722511"/>
              <a:gd name="connsiteX1200" fmla="*/ 10027499 w 12305293"/>
              <a:gd name="connsiteY1200" fmla="*/ 3681324 h 3722511"/>
              <a:gd name="connsiteX1201" fmla="*/ 10027499 w 12305293"/>
              <a:gd name="connsiteY1201" fmla="*/ 3717836 h 3722511"/>
              <a:gd name="connsiteX1202" fmla="*/ 10027499 w 12305293"/>
              <a:gd name="connsiteY1202" fmla="*/ 3722511 h 3722511"/>
              <a:gd name="connsiteX1203" fmla="*/ 6016174 w 12305293"/>
              <a:gd name="connsiteY1203" fmla="*/ 3722511 h 3722511"/>
              <a:gd name="connsiteX1204" fmla="*/ 6016174 w 12305293"/>
              <a:gd name="connsiteY1204" fmla="*/ 1812966 h 3722511"/>
              <a:gd name="connsiteX1205" fmla="*/ 6121479 w 12305293"/>
              <a:gd name="connsiteY1205" fmla="*/ 1812966 h 3722511"/>
              <a:gd name="connsiteX1206" fmla="*/ 6856349 w 12305293"/>
              <a:gd name="connsiteY1206" fmla="*/ 2812955 h 3722511"/>
              <a:gd name="connsiteX1207" fmla="*/ 6914185 w 12305293"/>
              <a:gd name="connsiteY1207" fmla="*/ 2953310 h 3722511"/>
              <a:gd name="connsiteX1208" fmla="*/ 6910206 w 12305293"/>
              <a:gd name="connsiteY1208" fmla="*/ 2942588 h 3722511"/>
              <a:gd name="connsiteX1209" fmla="*/ 6974250 w 12305293"/>
              <a:gd name="connsiteY1209" fmla="*/ 2942588 h 3722511"/>
              <a:gd name="connsiteX1210" fmla="*/ 6974250 w 12305293"/>
              <a:gd name="connsiteY1210" fmla="*/ 2623807 h 3722511"/>
              <a:gd name="connsiteX1211" fmla="*/ 6943508 w 12305293"/>
              <a:gd name="connsiteY1211" fmla="*/ 2623807 h 3722511"/>
              <a:gd name="connsiteX1212" fmla="*/ 6943508 w 12305293"/>
              <a:gd name="connsiteY1212" fmla="*/ 2533444 h 3722511"/>
              <a:gd name="connsiteX1213" fmla="*/ 7060210 w 12305293"/>
              <a:gd name="connsiteY1213" fmla="*/ 2533444 h 3722511"/>
              <a:gd name="connsiteX1214" fmla="*/ 7117697 w 12305293"/>
              <a:gd name="connsiteY1214" fmla="*/ 2533444 h 3722511"/>
              <a:gd name="connsiteX1215" fmla="*/ 7121840 w 12305293"/>
              <a:gd name="connsiteY1215" fmla="*/ 2524813 h 3722511"/>
              <a:gd name="connsiteX1216" fmla="*/ 7261033 w 12305293"/>
              <a:gd name="connsiteY1216" fmla="*/ 2299535 h 3722511"/>
              <a:gd name="connsiteX1217" fmla="*/ 7263816 w 12305293"/>
              <a:gd name="connsiteY1217" fmla="*/ 2295970 h 3722511"/>
              <a:gd name="connsiteX1218" fmla="*/ 7263790 w 12305293"/>
              <a:gd name="connsiteY1218" fmla="*/ 2295525 h 3722511"/>
              <a:gd name="connsiteX1219" fmla="*/ 7263973 w 12305293"/>
              <a:gd name="connsiteY1219" fmla="*/ 2295769 h 3722511"/>
              <a:gd name="connsiteX1220" fmla="*/ 7264164 w 12305293"/>
              <a:gd name="connsiteY1220" fmla="*/ 2295525 h 3722511"/>
              <a:gd name="connsiteX1221" fmla="*/ 7264232 w 12305293"/>
              <a:gd name="connsiteY1221" fmla="*/ 2296117 h 3722511"/>
              <a:gd name="connsiteX1222" fmla="*/ 7267234 w 12305293"/>
              <a:gd name="connsiteY1222" fmla="*/ 2300132 h 3722511"/>
              <a:gd name="connsiteX1223" fmla="*/ 7463453 w 12305293"/>
              <a:gd name="connsiteY1223" fmla="*/ 2745744 h 3722511"/>
              <a:gd name="connsiteX1224" fmla="*/ 7477245 w 12305293"/>
              <a:gd name="connsiteY1224" fmla="*/ 2802923 h 3722511"/>
              <a:gd name="connsiteX1225" fmla="*/ 7473795 w 12305293"/>
              <a:gd name="connsiteY1225" fmla="*/ 2784453 h 3722511"/>
              <a:gd name="connsiteX1226" fmla="*/ 7484042 w 12305293"/>
              <a:gd name="connsiteY1226" fmla="*/ 2809554 h 3722511"/>
              <a:gd name="connsiteX1227" fmla="*/ 7558334 w 12305293"/>
              <a:gd name="connsiteY1227" fmla="*/ 2671499 h 3722511"/>
              <a:gd name="connsiteX1228" fmla="*/ 7558334 w 12305293"/>
              <a:gd name="connsiteY1228" fmla="*/ 3283700 h 3722511"/>
              <a:gd name="connsiteX1229" fmla="*/ 7558334 w 12305293"/>
              <a:gd name="connsiteY1229" fmla="*/ 3413966 h 3722511"/>
              <a:gd name="connsiteX1230" fmla="*/ 7558576 w 12305293"/>
              <a:gd name="connsiteY1230" fmla="*/ 3414612 h 3722511"/>
              <a:gd name="connsiteX1231" fmla="*/ 7558576 w 12305293"/>
              <a:gd name="connsiteY1231" fmla="*/ 1941565 h 3722511"/>
              <a:gd name="connsiteX1232" fmla="*/ 7642822 w 12305293"/>
              <a:gd name="connsiteY1232" fmla="*/ 1941565 h 3722511"/>
              <a:gd name="connsiteX1233" fmla="*/ 7642822 w 12305293"/>
              <a:gd name="connsiteY1233" fmla="*/ 1544684 h 3722511"/>
              <a:gd name="connsiteX1234" fmla="*/ 7644279 w 12305293"/>
              <a:gd name="connsiteY1234" fmla="*/ 1544684 h 3722511"/>
              <a:gd name="connsiteX1235" fmla="*/ 7642728 w 12305293"/>
              <a:gd name="connsiteY1235" fmla="*/ 1544514 h 3722511"/>
              <a:gd name="connsiteX1236" fmla="*/ 7704100 w 12305293"/>
              <a:gd name="connsiteY1236" fmla="*/ 1406216 h 3722511"/>
              <a:gd name="connsiteX1237" fmla="*/ 7719443 w 12305293"/>
              <a:gd name="connsiteY1237" fmla="*/ 1217627 h 3722511"/>
              <a:gd name="connsiteX1238" fmla="*/ 7757800 w 12305293"/>
              <a:gd name="connsiteY1238" fmla="*/ 1217627 h 3722511"/>
              <a:gd name="connsiteX1239" fmla="*/ 7788486 w 12305293"/>
              <a:gd name="connsiteY1239" fmla="*/ 1217627 h 3722511"/>
              <a:gd name="connsiteX1240" fmla="*/ 7826845 w 12305293"/>
              <a:gd name="connsiteY1240" fmla="*/ 1217627 h 3722511"/>
              <a:gd name="connsiteX1241" fmla="*/ 7844745 w 12305293"/>
              <a:gd name="connsiteY1241" fmla="*/ 1406216 h 3722511"/>
              <a:gd name="connsiteX1242" fmla="*/ 7903560 w 12305293"/>
              <a:gd name="connsiteY1242" fmla="*/ 1544514 h 3722511"/>
              <a:gd name="connsiteX1243" fmla="*/ 7902009 w 12305293"/>
              <a:gd name="connsiteY1243" fmla="*/ 1544684 h 3722511"/>
              <a:gd name="connsiteX1244" fmla="*/ 7903560 w 12305293"/>
              <a:gd name="connsiteY1244" fmla="*/ 1544684 h 3722511"/>
              <a:gd name="connsiteX1245" fmla="*/ 7903560 w 12305293"/>
              <a:gd name="connsiteY1245" fmla="*/ 1544654 h 3722511"/>
              <a:gd name="connsiteX1246" fmla="*/ 7989425 w 12305293"/>
              <a:gd name="connsiteY1246" fmla="*/ 1544654 h 3722511"/>
              <a:gd name="connsiteX1247" fmla="*/ 7989425 w 12305293"/>
              <a:gd name="connsiteY1247" fmla="*/ 1589104 h 3722511"/>
              <a:gd name="connsiteX1248" fmla="*/ 7989425 w 12305293"/>
              <a:gd name="connsiteY1248" fmla="*/ 1592279 h 3722511"/>
              <a:gd name="connsiteX1249" fmla="*/ 7989425 w 12305293"/>
              <a:gd name="connsiteY1249" fmla="*/ 1635142 h 3722511"/>
              <a:gd name="connsiteX1250" fmla="*/ 7989425 w 12305293"/>
              <a:gd name="connsiteY1250" fmla="*/ 1636729 h 3722511"/>
              <a:gd name="connsiteX1251" fmla="*/ 7989425 w 12305293"/>
              <a:gd name="connsiteY1251" fmla="*/ 1679592 h 3722511"/>
              <a:gd name="connsiteX1252" fmla="*/ 7989425 w 12305293"/>
              <a:gd name="connsiteY1252" fmla="*/ 1682767 h 3722511"/>
              <a:gd name="connsiteX1253" fmla="*/ 7989425 w 12305293"/>
              <a:gd name="connsiteY1253" fmla="*/ 1724042 h 3722511"/>
              <a:gd name="connsiteX1254" fmla="*/ 7989425 w 12305293"/>
              <a:gd name="connsiteY1254" fmla="*/ 1727217 h 3722511"/>
              <a:gd name="connsiteX1255" fmla="*/ 7989425 w 12305293"/>
              <a:gd name="connsiteY1255" fmla="*/ 1770080 h 3722511"/>
              <a:gd name="connsiteX1256" fmla="*/ 7989425 w 12305293"/>
              <a:gd name="connsiteY1256" fmla="*/ 1773255 h 3722511"/>
              <a:gd name="connsiteX1257" fmla="*/ 7989425 w 12305293"/>
              <a:gd name="connsiteY1257" fmla="*/ 1814530 h 3722511"/>
              <a:gd name="connsiteX1258" fmla="*/ 7989425 w 12305293"/>
              <a:gd name="connsiteY1258" fmla="*/ 1817705 h 3722511"/>
              <a:gd name="connsiteX1259" fmla="*/ 7989425 w 12305293"/>
              <a:gd name="connsiteY1259" fmla="*/ 1860568 h 3722511"/>
              <a:gd name="connsiteX1260" fmla="*/ 7989425 w 12305293"/>
              <a:gd name="connsiteY1260" fmla="*/ 1862155 h 3722511"/>
              <a:gd name="connsiteX1261" fmla="*/ 7989425 w 12305293"/>
              <a:gd name="connsiteY1261" fmla="*/ 1903431 h 3722511"/>
              <a:gd name="connsiteX1262" fmla="*/ 7989425 w 12305293"/>
              <a:gd name="connsiteY1262" fmla="*/ 1905018 h 3722511"/>
              <a:gd name="connsiteX1263" fmla="*/ 7989425 w 12305293"/>
              <a:gd name="connsiteY1263" fmla="*/ 1951056 h 3722511"/>
              <a:gd name="connsiteX1264" fmla="*/ 7903660 w 12305293"/>
              <a:gd name="connsiteY1264" fmla="*/ 1951056 h 3722511"/>
              <a:gd name="connsiteX1265" fmla="*/ 7903660 w 12305293"/>
              <a:gd name="connsiteY1265" fmla="*/ 1951090 h 3722511"/>
              <a:gd name="connsiteX1266" fmla="*/ 7989526 w 12305293"/>
              <a:gd name="connsiteY1266" fmla="*/ 1951090 h 3722511"/>
              <a:gd name="connsiteX1267" fmla="*/ 7989526 w 12305293"/>
              <a:gd name="connsiteY1267" fmla="*/ 2437482 h 3722511"/>
              <a:gd name="connsiteX1268" fmla="*/ 8028419 w 12305293"/>
              <a:gd name="connsiteY1268" fmla="*/ 2409823 h 3722511"/>
              <a:gd name="connsiteX1269" fmla="*/ 8075811 w 12305293"/>
              <a:gd name="connsiteY1269" fmla="*/ 2392880 h 3722511"/>
              <a:gd name="connsiteX1270" fmla="*/ 8075811 w 12305293"/>
              <a:gd name="connsiteY1270" fmla="*/ 2199603 h 3722511"/>
              <a:gd name="connsiteX1271" fmla="*/ 8147541 w 12305293"/>
              <a:gd name="connsiteY1271" fmla="*/ 2199603 h 3722511"/>
              <a:gd name="connsiteX1272" fmla="*/ 8147541 w 12305293"/>
              <a:gd name="connsiteY1272" fmla="*/ 2392880 h 3722511"/>
              <a:gd name="connsiteX1273" fmla="*/ 8221832 w 12305293"/>
              <a:gd name="connsiteY1273" fmla="*/ 2425511 h 3722511"/>
              <a:gd name="connsiteX1274" fmla="*/ 8221832 w 12305293"/>
              <a:gd name="connsiteY1274" fmla="*/ 2596196 h 3722511"/>
              <a:gd name="connsiteX1275" fmla="*/ 8221832 w 12305293"/>
              <a:gd name="connsiteY1275" fmla="*/ 2656439 h 3722511"/>
              <a:gd name="connsiteX1276" fmla="*/ 8221832 w 12305293"/>
              <a:gd name="connsiteY1276" fmla="*/ 2701620 h 3722511"/>
              <a:gd name="connsiteX1277" fmla="*/ 8147541 w 12305293"/>
              <a:gd name="connsiteY1277" fmla="*/ 2736761 h 3722511"/>
              <a:gd name="connsiteX1278" fmla="*/ 8147541 w 12305293"/>
              <a:gd name="connsiteY1278" fmla="*/ 2844695 h 3722511"/>
              <a:gd name="connsiteX1279" fmla="*/ 8221832 w 12305293"/>
              <a:gd name="connsiteY1279" fmla="*/ 2844695 h 3722511"/>
              <a:gd name="connsiteX1280" fmla="*/ 8221832 w 12305293"/>
              <a:gd name="connsiteY1280" fmla="*/ 2977730 h 3722511"/>
              <a:gd name="connsiteX1281" fmla="*/ 8196215 w 12305293"/>
              <a:gd name="connsiteY1281" fmla="*/ 2977730 h 3722511"/>
              <a:gd name="connsiteX1282" fmla="*/ 8162911 w 12305293"/>
              <a:gd name="connsiteY1282" fmla="*/ 2977730 h 3722511"/>
              <a:gd name="connsiteX1283" fmla="*/ 8137294 w 12305293"/>
              <a:gd name="connsiteY1283" fmla="*/ 2977730 h 3722511"/>
              <a:gd name="connsiteX1284" fmla="*/ 8119361 w 12305293"/>
              <a:gd name="connsiteY1284" fmla="*/ 2977730 h 3722511"/>
              <a:gd name="connsiteX1285" fmla="*/ 8119361 w 12305293"/>
              <a:gd name="connsiteY1285" fmla="*/ 2978150 h 3722511"/>
              <a:gd name="connsiteX1286" fmla="*/ 8136840 w 12305293"/>
              <a:gd name="connsiteY1286" fmla="*/ 2978150 h 3722511"/>
              <a:gd name="connsiteX1287" fmla="*/ 8162762 w 12305293"/>
              <a:gd name="connsiteY1287" fmla="*/ 2978150 h 3722511"/>
              <a:gd name="connsiteX1288" fmla="*/ 8222704 w 12305293"/>
              <a:gd name="connsiteY1288" fmla="*/ 2978150 h 3722511"/>
              <a:gd name="connsiteX1289" fmla="*/ 8222704 w 12305293"/>
              <a:gd name="connsiteY1289" fmla="*/ 2655887 h 3722511"/>
              <a:gd name="connsiteX1290" fmla="*/ 8222704 w 12305293"/>
              <a:gd name="connsiteY1290" fmla="*/ 2595562 h 3722511"/>
              <a:gd name="connsiteX1291" fmla="*/ 8222704 w 12305293"/>
              <a:gd name="connsiteY1291" fmla="*/ 2205037 h 3722511"/>
              <a:gd name="connsiteX1292" fmla="*/ 8316668 w 12305293"/>
              <a:gd name="connsiteY1292" fmla="*/ 2205037 h 3722511"/>
              <a:gd name="connsiteX1293" fmla="*/ 8316668 w 12305293"/>
              <a:gd name="connsiteY1293" fmla="*/ 1817687 h 3722511"/>
              <a:gd name="connsiteX1294" fmla="*/ 8316668 w 12305293"/>
              <a:gd name="connsiteY1294" fmla="*/ 1757362 h 3722511"/>
              <a:gd name="connsiteX1295" fmla="*/ 8316668 w 12305293"/>
              <a:gd name="connsiteY1295" fmla="*/ 1412875 h 3722511"/>
              <a:gd name="connsiteX1296" fmla="*/ 8391192 w 12305293"/>
              <a:gd name="connsiteY1296" fmla="*/ 1412875 h 3722511"/>
              <a:gd name="connsiteX1297" fmla="*/ 8399292 w 12305293"/>
              <a:gd name="connsiteY1297" fmla="*/ 1412875 h 3722511"/>
              <a:gd name="connsiteX1298" fmla="*/ 8399292 w 12305293"/>
              <a:gd name="connsiteY1298" fmla="*/ 1084262 h 3722511"/>
              <a:gd name="connsiteX1299" fmla="*/ 8399292 w 12305293"/>
              <a:gd name="connsiteY1299" fmla="*/ 933450 h 3722511"/>
              <a:gd name="connsiteX1300" fmla="*/ 8423593 w 12305293"/>
              <a:gd name="connsiteY1300" fmla="*/ 933450 h 3722511"/>
              <a:gd name="connsiteX1301" fmla="*/ 8457615 w 12305293"/>
              <a:gd name="connsiteY1301" fmla="*/ 933450 h 3722511"/>
              <a:gd name="connsiteX1302" fmla="*/ 8470576 w 12305293"/>
              <a:gd name="connsiteY1302" fmla="*/ 933450 h 3722511"/>
              <a:gd name="connsiteX1303" fmla="*/ 8470576 w 12305293"/>
              <a:gd name="connsiteY1303" fmla="*/ 755650 h 3722511"/>
              <a:gd name="connsiteX1304" fmla="*/ 8470576 w 12305293"/>
              <a:gd name="connsiteY1304" fmla="*/ 549275 h 3722511"/>
              <a:gd name="connsiteX1305" fmla="*/ 8485156 w 12305293"/>
              <a:gd name="connsiteY1305" fmla="*/ 549275 h 3722511"/>
              <a:gd name="connsiteX1306" fmla="*/ 8514318 w 12305293"/>
              <a:gd name="connsiteY1306" fmla="*/ 549275 h 3722511"/>
              <a:gd name="connsiteX1307" fmla="*/ 8514318 w 12305293"/>
              <a:gd name="connsiteY1307" fmla="*/ 471487 h 3722511"/>
              <a:gd name="connsiteX1308" fmla="*/ 8514318 w 12305293"/>
              <a:gd name="connsiteY1308" fmla="*/ 427037 h 3722511"/>
              <a:gd name="connsiteX1309" fmla="*/ 8514318 w 12305293"/>
              <a:gd name="connsiteY1309" fmla="*/ 290512 h 3722511"/>
              <a:gd name="connsiteX1310" fmla="*/ 8553199 w 12305293"/>
              <a:gd name="connsiteY1310" fmla="*/ 290512 h 3722511"/>
              <a:gd name="connsiteX1311" fmla="*/ 8553199 w 12305293"/>
              <a:gd name="connsiteY1311" fmla="*/ 163512 h 3722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</a:cxnLst>
            <a:rect l="l" t="t" r="r" b="b"/>
            <a:pathLst>
              <a:path w="12305293" h="3722511">
                <a:moveTo>
                  <a:pt x="4492347" y="3668778"/>
                </a:moveTo>
                <a:lnTo>
                  <a:pt x="4492347" y="3668779"/>
                </a:lnTo>
                <a:lnTo>
                  <a:pt x="4492419" y="3668779"/>
                </a:lnTo>
                <a:lnTo>
                  <a:pt x="4493162" y="3668779"/>
                </a:lnTo>
                <a:lnTo>
                  <a:pt x="4499732" y="3668779"/>
                </a:lnTo>
                <a:lnTo>
                  <a:pt x="4515335" y="3668779"/>
                </a:lnTo>
                <a:lnTo>
                  <a:pt x="4545722" y="3668779"/>
                </a:lnTo>
                <a:lnTo>
                  <a:pt x="4595819" y="3668779"/>
                </a:lnTo>
                <a:lnTo>
                  <a:pt x="4670553" y="3668779"/>
                </a:lnTo>
                <a:lnTo>
                  <a:pt x="4774853" y="3668779"/>
                </a:lnTo>
                <a:lnTo>
                  <a:pt x="4913644" y="3668779"/>
                </a:lnTo>
                <a:lnTo>
                  <a:pt x="5282926" y="3668779"/>
                </a:lnTo>
                <a:lnTo>
                  <a:pt x="5282926" y="3668778"/>
                </a:lnTo>
                <a:lnTo>
                  <a:pt x="4916885" y="3668778"/>
                </a:lnTo>
                <a:lnTo>
                  <a:pt x="4913644" y="3668778"/>
                </a:lnTo>
                <a:lnTo>
                  <a:pt x="4492419" y="3668778"/>
                </a:lnTo>
                <a:close/>
                <a:moveTo>
                  <a:pt x="3055361" y="3644953"/>
                </a:moveTo>
                <a:lnTo>
                  <a:pt x="3055361" y="3703690"/>
                </a:lnTo>
                <a:lnTo>
                  <a:pt x="3065125" y="3703690"/>
                </a:lnTo>
                <a:lnTo>
                  <a:pt x="3065125" y="3703148"/>
                </a:lnTo>
                <a:lnTo>
                  <a:pt x="3065098" y="3703148"/>
                </a:lnTo>
                <a:cubicBezTo>
                  <a:pt x="3065098" y="3703148"/>
                  <a:pt x="3065098" y="3703148"/>
                  <a:pt x="3065098" y="3645226"/>
                </a:cubicBezTo>
                <a:lnTo>
                  <a:pt x="3065125" y="3645226"/>
                </a:lnTo>
                <a:lnTo>
                  <a:pt x="3065125" y="3644953"/>
                </a:lnTo>
                <a:close/>
                <a:moveTo>
                  <a:pt x="8119019" y="3193932"/>
                </a:moveTo>
                <a:lnTo>
                  <a:pt x="8118360" y="3194577"/>
                </a:lnTo>
                <a:cubicBezTo>
                  <a:pt x="8116109" y="3196783"/>
                  <a:pt x="8108792" y="3203953"/>
                  <a:pt x="8085010" y="3227255"/>
                </a:cubicBezTo>
                <a:lnTo>
                  <a:pt x="8055685" y="3255988"/>
                </a:lnTo>
                <a:lnTo>
                  <a:pt x="8055847" y="3255988"/>
                </a:lnTo>
                <a:lnTo>
                  <a:pt x="8119019" y="3194711"/>
                </a:lnTo>
                <a:close/>
                <a:moveTo>
                  <a:pt x="11570066" y="3115784"/>
                </a:moveTo>
                <a:cubicBezTo>
                  <a:pt x="11570066" y="3115784"/>
                  <a:pt x="11570066" y="3115784"/>
                  <a:pt x="11567505" y="3117981"/>
                </a:cubicBezTo>
                <a:lnTo>
                  <a:pt x="11563060" y="3121791"/>
                </a:lnTo>
                <a:lnTo>
                  <a:pt x="11569818" y="3116273"/>
                </a:lnTo>
                <a:lnTo>
                  <a:pt x="11679984" y="3203585"/>
                </a:lnTo>
                <a:lnTo>
                  <a:pt x="11679984" y="3575086"/>
                </a:lnTo>
                <a:lnTo>
                  <a:pt x="11680221" y="3575086"/>
                </a:lnTo>
                <a:lnTo>
                  <a:pt x="11680221" y="3574404"/>
                </a:lnTo>
                <a:cubicBezTo>
                  <a:pt x="11680221" y="3569325"/>
                  <a:pt x="11680221" y="3528693"/>
                  <a:pt x="11680221" y="3203637"/>
                </a:cubicBezTo>
                <a:cubicBezTo>
                  <a:pt x="11680221" y="3203637"/>
                  <a:pt x="11680221" y="3203637"/>
                  <a:pt x="11570066" y="3115784"/>
                </a:cubicBezTo>
                <a:close/>
                <a:moveTo>
                  <a:pt x="3697880" y="3081386"/>
                </a:moveTo>
                <a:lnTo>
                  <a:pt x="3697875" y="3081401"/>
                </a:lnTo>
                <a:lnTo>
                  <a:pt x="3883174" y="3081401"/>
                </a:lnTo>
                <a:lnTo>
                  <a:pt x="3883174" y="3081386"/>
                </a:lnTo>
                <a:lnTo>
                  <a:pt x="3863317" y="3081386"/>
                </a:lnTo>
                <a:cubicBezTo>
                  <a:pt x="3838731" y="3081386"/>
                  <a:pt x="3799394" y="3081386"/>
                  <a:pt x="3736453" y="3081386"/>
                </a:cubicBezTo>
                <a:cubicBezTo>
                  <a:pt x="3736453" y="3081386"/>
                  <a:pt x="3736453" y="3081386"/>
                  <a:pt x="3716784" y="3081386"/>
                </a:cubicBezTo>
                <a:close/>
                <a:moveTo>
                  <a:pt x="6938046" y="3017605"/>
                </a:moveTo>
                <a:lnTo>
                  <a:pt x="6960659" y="3084483"/>
                </a:lnTo>
                <a:lnTo>
                  <a:pt x="6961143" y="3079838"/>
                </a:lnTo>
                <a:close/>
                <a:moveTo>
                  <a:pt x="6984400" y="2912583"/>
                </a:moveTo>
                <a:lnTo>
                  <a:pt x="6981535" y="2923841"/>
                </a:lnTo>
                <a:lnTo>
                  <a:pt x="6980146" y="2934684"/>
                </a:lnTo>
                <a:close/>
                <a:moveTo>
                  <a:pt x="7989526" y="2692114"/>
                </a:moveTo>
                <a:lnTo>
                  <a:pt x="7989526" y="2844695"/>
                </a:lnTo>
                <a:lnTo>
                  <a:pt x="7990072" y="2844695"/>
                </a:lnTo>
                <a:cubicBezTo>
                  <a:pt x="7994155" y="2844695"/>
                  <a:pt x="8010486" y="2844695"/>
                  <a:pt x="8075811" y="2844695"/>
                </a:cubicBezTo>
                <a:cubicBezTo>
                  <a:pt x="8075811" y="2844695"/>
                  <a:pt x="8075811" y="2844695"/>
                  <a:pt x="8075811" y="2734251"/>
                </a:cubicBezTo>
                <a:cubicBezTo>
                  <a:pt x="8059160" y="2730486"/>
                  <a:pt x="8043148" y="2724838"/>
                  <a:pt x="8028419" y="2717622"/>
                </a:cubicBezTo>
                <a:close/>
                <a:moveTo>
                  <a:pt x="3071561" y="2528938"/>
                </a:moveTo>
                <a:lnTo>
                  <a:pt x="3196297" y="2625773"/>
                </a:lnTo>
                <a:lnTo>
                  <a:pt x="3196299" y="2625775"/>
                </a:lnTo>
                <a:lnTo>
                  <a:pt x="3196299" y="2625776"/>
                </a:lnTo>
                <a:lnTo>
                  <a:pt x="3196299" y="2654350"/>
                </a:lnTo>
                <a:lnTo>
                  <a:pt x="3165953" y="2689129"/>
                </a:lnTo>
                <a:lnTo>
                  <a:pt x="3167645" y="2692529"/>
                </a:lnTo>
                <a:cubicBezTo>
                  <a:pt x="3168037" y="2699316"/>
                  <a:pt x="3165693" y="2706102"/>
                  <a:pt x="3161007" y="2712135"/>
                </a:cubicBezTo>
                <a:lnTo>
                  <a:pt x="3136012" y="2742298"/>
                </a:lnTo>
                <a:cubicBezTo>
                  <a:pt x="3129765" y="2746822"/>
                  <a:pt x="3122735" y="2749838"/>
                  <a:pt x="3115705" y="2750215"/>
                </a:cubicBezTo>
                <a:lnTo>
                  <a:pt x="3113426" y="2749327"/>
                </a:lnTo>
                <a:lnTo>
                  <a:pt x="3005140" y="2873426"/>
                </a:lnTo>
                <a:lnTo>
                  <a:pt x="2946823" y="2824213"/>
                </a:lnTo>
                <a:lnTo>
                  <a:pt x="2946823" y="2797226"/>
                </a:lnTo>
                <a:lnTo>
                  <a:pt x="2946823" y="2794051"/>
                </a:lnTo>
                <a:lnTo>
                  <a:pt x="2946823" y="2648001"/>
                </a:lnTo>
                <a:close/>
                <a:moveTo>
                  <a:pt x="6315875" y="2458142"/>
                </a:moveTo>
                <a:cubicBezTo>
                  <a:pt x="6315875" y="2458142"/>
                  <a:pt x="6315875" y="2458142"/>
                  <a:pt x="6464458" y="2535954"/>
                </a:cubicBezTo>
                <a:cubicBezTo>
                  <a:pt x="6464458" y="2535954"/>
                  <a:pt x="6464458" y="2535954"/>
                  <a:pt x="6315875" y="2535954"/>
                </a:cubicBezTo>
                <a:cubicBezTo>
                  <a:pt x="6315875" y="2535954"/>
                  <a:pt x="6315875" y="2535954"/>
                  <a:pt x="6315875" y="2458142"/>
                </a:cubicBezTo>
                <a:close/>
                <a:moveTo>
                  <a:pt x="1155115" y="2386064"/>
                </a:moveTo>
                <a:cubicBezTo>
                  <a:pt x="1320315" y="2386064"/>
                  <a:pt x="1458158" y="2501427"/>
                  <a:pt x="1490024" y="2654788"/>
                </a:cubicBezTo>
                <a:lnTo>
                  <a:pt x="1493718" y="2690879"/>
                </a:lnTo>
                <a:lnTo>
                  <a:pt x="1587686" y="2690879"/>
                </a:lnTo>
                <a:lnTo>
                  <a:pt x="1587686" y="2754379"/>
                </a:lnTo>
                <a:lnTo>
                  <a:pt x="1556890" y="2754379"/>
                </a:lnTo>
                <a:lnTo>
                  <a:pt x="1556890" y="3254429"/>
                </a:lnTo>
                <a:lnTo>
                  <a:pt x="1597376" y="3254429"/>
                </a:lnTo>
                <a:lnTo>
                  <a:pt x="1597376" y="3722511"/>
                </a:lnTo>
                <a:lnTo>
                  <a:pt x="712805" y="3722511"/>
                </a:lnTo>
                <a:lnTo>
                  <a:pt x="712805" y="3254429"/>
                </a:lnTo>
                <a:lnTo>
                  <a:pt x="753308" y="3254429"/>
                </a:lnTo>
                <a:lnTo>
                  <a:pt x="753308" y="2754379"/>
                </a:lnTo>
                <a:lnTo>
                  <a:pt x="725784" y="2754379"/>
                </a:lnTo>
                <a:lnTo>
                  <a:pt x="725783" y="2754379"/>
                </a:lnTo>
                <a:lnTo>
                  <a:pt x="725783" y="2754375"/>
                </a:lnTo>
                <a:lnTo>
                  <a:pt x="725770" y="2754375"/>
                </a:lnTo>
                <a:lnTo>
                  <a:pt x="725770" y="2690875"/>
                </a:lnTo>
                <a:lnTo>
                  <a:pt x="813259" y="2690875"/>
                </a:lnTo>
                <a:lnTo>
                  <a:pt x="813273" y="2690875"/>
                </a:lnTo>
                <a:lnTo>
                  <a:pt x="818269" y="2673636"/>
                </a:lnTo>
                <a:lnTo>
                  <a:pt x="820196" y="2654788"/>
                </a:lnTo>
                <a:lnTo>
                  <a:pt x="833127" y="2622359"/>
                </a:lnTo>
                <a:lnTo>
                  <a:pt x="846192" y="2577292"/>
                </a:lnTo>
                <a:lnTo>
                  <a:pt x="856734" y="2563166"/>
                </a:lnTo>
                <a:lnTo>
                  <a:pt x="862739" y="2548101"/>
                </a:lnTo>
                <a:lnTo>
                  <a:pt x="897349" y="2508748"/>
                </a:lnTo>
                <a:lnTo>
                  <a:pt x="915823" y="2483994"/>
                </a:lnTo>
                <a:lnTo>
                  <a:pt x="926895" y="2475150"/>
                </a:lnTo>
                <a:lnTo>
                  <a:pt x="937650" y="2462916"/>
                </a:lnTo>
                <a:cubicBezTo>
                  <a:pt x="981985" y="2426907"/>
                  <a:pt x="1035679" y="2401682"/>
                  <a:pt x="1094597" y="2391320"/>
                </a:cubicBezTo>
                <a:lnTo>
                  <a:pt x="1145816" y="2386872"/>
                </a:lnTo>
                <a:lnTo>
                  <a:pt x="1145816" y="2386077"/>
                </a:lnTo>
                <a:cubicBezTo>
                  <a:pt x="1148921" y="2386077"/>
                  <a:pt x="1148921" y="2386077"/>
                  <a:pt x="1148921" y="2386077"/>
                </a:cubicBezTo>
                <a:cubicBezTo>
                  <a:pt x="1148921" y="2386077"/>
                  <a:pt x="1148921" y="2386077"/>
                  <a:pt x="1152027" y="2386077"/>
                </a:cubicBezTo>
                <a:lnTo>
                  <a:pt x="1154965" y="2386077"/>
                </a:lnTo>
                <a:close/>
                <a:moveTo>
                  <a:pt x="2565784" y="2202783"/>
                </a:moveTo>
                <a:lnTo>
                  <a:pt x="2578487" y="2225179"/>
                </a:lnTo>
                <a:lnTo>
                  <a:pt x="2603093" y="2264359"/>
                </a:lnTo>
                <a:lnTo>
                  <a:pt x="2610026" y="2272947"/>
                </a:lnTo>
                <a:lnTo>
                  <a:pt x="2642542" y="2310231"/>
                </a:lnTo>
                <a:lnTo>
                  <a:pt x="2642970" y="2306384"/>
                </a:lnTo>
                <a:lnTo>
                  <a:pt x="2650840" y="2211284"/>
                </a:lnTo>
                <a:lnTo>
                  <a:pt x="2646489" y="2210693"/>
                </a:lnTo>
                <a:cubicBezTo>
                  <a:pt x="2643752" y="2210321"/>
                  <a:pt x="2639645" y="2209763"/>
                  <a:pt x="2633487" y="2208925"/>
                </a:cubicBezTo>
                <a:lnTo>
                  <a:pt x="2621182" y="2207253"/>
                </a:lnTo>
                <a:close/>
                <a:moveTo>
                  <a:pt x="10960470" y="2046601"/>
                </a:moveTo>
                <a:lnTo>
                  <a:pt x="10937308" y="2081629"/>
                </a:lnTo>
                <a:cubicBezTo>
                  <a:pt x="10937308" y="2081629"/>
                  <a:pt x="10937308" y="2081629"/>
                  <a:pt x="10937308" y="3014574"/>
                </a:cubicBezTo>
                <a:lnTo>
                  <a:pt x="10937308" y="3133711"/>
                </a:lnTo>
                <a:lnTo>
                  <a:pt x="10937990" y="3134251"/>
                </a:lnTo>
                <a:lnTo>
                  <a:pt x="10937990" y="2081284"/>
                </a:lnTo>
                <a:close/>
                <a:moveTo>
                  <a:pt x="6208575" y="2026397"/>
                </a:moveTo>
                <a:cubicBezTo>
                  <a:pt x="6208575" y="2091682"/>
                  <a:pt x="6208575" y="2536122"/>
                  <a:pt x="6208575" y="2536122"/>
                </a:cubicBezTo>
                <a:cubicBezTo>
                  <a:pt x="6208575" y="2536122"/>
                  <a:pt x="6208575" y="2536122"/>
                  <a:pt x="6597943" y="2536122"/>
                </a:cubicBezTo>
                <a:cubicBezTo>
                  <a:pt x="6597943" y="2536122"/>
                  <a:pt x="6408382" y="2187099"/>
                  <a:pt x="6208575" y="2026397"/>
                </a:cubicBezTo>
                <a:close/>
                <a:moveTo>
                  <a:pt x="11245806" y="1609787"/>
                </a:moveTo>
                <a:lnTo>
                  <a:pt x="11550381" y="2081284"/>
                </a:lnTo>
                <a:lnTo>
                  <a:pt x="11550381" y="2972709"/>
                </a:lnTo>
                <a:lnTo>
                  <a:pt x="11552173" y="2972709"/>
                </a:lnTo>
                <a:cubicBezTo>
                  <a:pt x="11559979" y="2972709"/>
                  <a:pt x="11591200" y="2972709"/>
                  <a:pt x="11716086" y="2972709"/>
                </a:cubicBezTo>
                <a:cubicBezTo>
                  <a:pt x="11716086" y="2972709"/>
                  <a:pt x="11716086" y="2972709"/>
                  <a:pt x="11716086" y="3469088"/>
                </a:cubicBezTo>
                <a:lnTo>
                  <a:pt x="11716086" y="3575086"/>
                </a:lnTo>
                <a:lnTo>
                  <a:pt x="11717206" y="3575086"/>
                </a:lnTo>
                <a:lnTo>
                  <a:pt x="11717206" y="2862263"/>
                </a:lnTo>
                <a:lnTo>
                  <a:pt x="11744266" y="2862263"/>
                </a:lnTo>
                <a:lnTo>
                  <a:pt x="11744266" y="2858069"/>
                </a:lnTo>
                <a:cubicBezTo>
                  <a:pt x="11744266" y="2845480"/>
                  <a:pt x="11744266" y="2795121"/>
                  <a:pt x="11744266" y="2593686"/>
                </a:cubicBezTo>
                <a:cubicBezTo>
                  <a:pt x="11744266" y="2593686"/>
                  <a:pt x="11744266" y="2593686"/>
                  <a:pt x="12059363" y="2593686"/>
                </a:cubicBezTo>
                <a:cubicBezTo>
                  <a:pt x="12059363" y="2593686"/>
                  <a:pt x="12059363" y="2593686"/>
                  <a:pt x="12059363" y="2023897"/>
                </a:cubicBezTo>
                <a:cubicBezTo>
                  <a:pt x="12059363" y="2023897"/>
                  <a:pt x="12059363" y="2023897"/>
                  <a:pt x="12305293" y="2023897"/>
                </a:cubicBezTo>
                <a:cubicBezTo>
                  <a:pt x="12305293" y="2023897"/>
                  <a:pt x="12305293" y="2023897"/>
                  <a:pt x="12305293" y="3577968"/>
                </a:cubicBezTo>
                <a:lnTo>
                  <a:pt x="12305293" y="3722511"/>
                </a:lnTo>
                <a:lnTo>
                  <a:pt x="12213069" y="3722511"/>
                </a:lnTo>
                <a:lnTo>
                  <a:pt x="12213069" y="3713498"/>
                </a:lnTo>
                <a:cubicBezTo>
                  <a:pt x="12213069" y="3693731"/>
                  <a:pt x="12213069" y="3654198"/>
                  <a:pt x="12213069" y="3575130"/>
                </a:cubicBezTo>
                <a:lnTo>
                  <a:pt x="12212958" y="3575130"/>
                </a:lnTo>
                <a:lnTo>
                  <a:pt x="12212958" y="3722511"/>
                </a:lnTo>
                <a:lnTo>
                  <a:pt x="10750299" y="3722511"/>
                </a:lnTo>
                <a:lnTo>
                  <a:pt x="10750299" y="3665739"/>
                </a:lnTo>
                <a:cubicBezTo>
                  <a:pt x="10750299" y="3372154"/>
                  <a:pt x="10750299" y="2963689"/>
                  <a:pt x="10750299" y="2395390"/>
                </a:cubicBezTo>
                <a:cubicBezTo>
                  <a:pt x="10750299" y="2395390"/>
                  <a:pt x="10750299" y="2395390"/>
                  <a:pt x="10834837" y="2440571"/>
                </a:cubicBezTo>
                <a:cubicBezTo>
                  <a:pt x="10834837" y="2440571"/>
                  <a:pt x="10834837" y="2440571"/>
                  <a:pt x="10834837" y="1903413"/>
                </a:cubicBezTo>
                <a:cubicBezTo>
                  <a:pt x="10834837" y="1903413"/>
                  <a:pt x="10834837" y="1903413"/>
                  <a:pt x="10982429" y="1903413"/>
                </a:cubicBezTo>
                <a:lnTo>
                  <a:pt x="11053278" y="1903413"/>
                </a:lnTo>
                <a:lnTo>
                  <a:pt x="11242565" y="1611374"/>
                </a:lnTo>
                <a:lnTo>
                  <a:pt x="11124299" y="2086046"/>
                </a:lnTo>
                <a:lnTo>
                  <a:pt x="11124469" y="2086046"/>
                </a:lnTo>
                <a:lnTo>
                  <a:pt x="11125038" y="2083786"/>
                </a:lnTo>
                <a:cubicBezTo>
                  <a:pt x="11127199" y="2075197"/>
                  <a:pt x="11135845" y="2040840"/>
                  <a:pt x="11170430" y="1903413"/>
                </a:cubicBezTo>
                <a:cubicBezTo>
                  <a:pt x="11170430" y="1903413"/>
                  <a:pt x="11170430" y="1903413"/>
                  <a:pt x="11226788" y="1903413"/>
                </a:cubicBezTo>
                <a:cubicBezTo>
                  <a:pt x="11226788" y="1903413"/>
                  <a:pt x="11226788" y="1903413"/>
                  <a:pt x="11226788" y="1918757"/>
                </a:cubicBezTo>
                <a:lnTo>
                  <a:pt x="11226788" y="1932567"/>
                </a:lnTo>
                <a:lnTo>
                  <a:pt x="11237702" y="1930408"/>
                </a:lnTo>
                <a:cubicBezTo>
                  <a:pt x="11281545" y="1930408"/>
                  <a:pt x="11317086" y="1965235"/>
                  <a:pt x="11317086" y="2008196"/>
                </a:cubicBezTo>
                <a:cubicBezTo>
                  <a:pt x="11317086" y="2051157"/>
                  <a:pt x="11281545" y="2085984"/>
                  <a:pt x="11237702" y="2085984"/>
                </a:cubicBezTo>
                <a:lnTo>
                  <a:pt x="11226788" y="2083825"/>
                </a:lnTo>
                <a:lnTo>
                  <a:pt x="11226788" y="2086046"/>
                </a:lnTo>
                <a:lnTo>
                  <a:pt x="11362452" y="2086046"/>
                </a:lnTo>
                <a:lnTo>
                  <a:pt x="11242565" y="1611374"/>
                </a:lnTo>
                <a:close/>
                <a:moveTo>
                  <a:pt x="7558484" y="1533541"/>
                </a:moveTo>
                <a:lnTo>
                  <a:pt x="7642728" y="1533541"/>
                </a:lnTo>
                <a:lnTo>
                  <a:pt x="7642728" y="1544514"/>
                </a:lnTo>
                <a:lnTo>
                  <a:pt x="7642728" y="1579579"/>
                </a:lnTo>
                <a:lnTo>
                  <a:pt x="7642728" y="1581166"/>
                </a:lnTo>
                <a:lnTo>
                  <a:pt x="7642728" y="1622442"/>
                </a:lnTo>
                <a:lnTo>
                  <a:pt x="7642728" y="1627204"/>
                </a:lnTo>
                <a:lnTo>
                  <a:pt x="7642728" y="1666892"/>
                </a:lnTo>
                <a:lnTo>
                  <a:pt x="7642728" y="1670067"/>
                </a:lnTo>
                <a:lnTo>
                  <a:pt x="7642728" y="1712930"/>
                </a:lnTo>
                <a:lnTo>
                  <a:pt x="7642728" y="1714517"/>
                </a:lnTo>
                <a:lnTo>
                  <a:pt x="7642728" y="1757380"/>
                </a:lnTo>
                <a:lnTo>
                  <a:pt x="7642728" y="1760555"/>
                </a:lnTo>
                <a:lnTo>
                  <a:pt x="7642728" y="1803418"/>
                </a:lnTo>
                <a:lnTo>
                  <a:pt x="7642728" y="1805005"/>
                </a:lnTo>
                <a:lnTo>
                  <a:pt x="7642728" y="1847868"/>
                </a:lnTo>
                <a:lnTo>
                  <a:pt x="7642728" y="1851043"/>
                </a:lnTo>
                <a:lnTo>
                  <a:pt x="7642728" y="1892318"/>
                </a:lnTo>
                <a:lnTo>
                  <a:pt x="7642728" y="1895493"/>
                </a:lnTo>
                <a:lnTo>
                  <a:pt x="7642728" y="1941531"/>
                </a:lnTo>
                <a:lnTo>
                  <a:pt x="7558484" y="1941531"/>
                </a:lnTo>
                <a:lnTo>
                  <a:pt x="7558484" y="1895493"/>
                </a:lnTo>
                <a:lnTo>
                  <a:pt x="7558484" y="1892318"/>
                </a:lnTo>
                <a:lnTo>
                  <a:pt x="7558484" y="1851043"/>
                </a:lnTo>
                <a:lnTo>
                  <a:pt x="7558484" y="1847868"/>
                </a:lnTo>
                <a:lnTo>
                  <a:pt x="7558484" y="1805005"/>
                </a:lnTo>
                <a:lnTo>
                  <a:pt x="7558484" y="1803418"/>
                </a:lnTo>
                <a:lnTo>
                  <a:pt x="7558484" y="1760555"/>
                </a:lnTo>
                <a:lnTo>
                  <a:pt x="7558484" y="1757380"/>
                </a:lnTo>
                <a:lnTo>
                  <a:pt x="7558484" y="1714517"/>
                </a:lnTo>
                <a:lnTo>
                  <a:pt x="7558484" y="1712930"/>
                </a:lnTo>
                <a:lnTo>
                  <a:pt x="7558484" y="1670067"/>
                </a:lnTo>
                <a:lnTo>
                  <a:pt x="7558484" y="1666892"/>
                </a:lnTo>
                <a:lnTo>
                  <a:pt x="7558484" y="1627204"/>
                </a:lnTo>
                <a:lnTo>
                  <a:pt x="7558484" y="1622442"/>
                </a:lnTo>
                <a:lnTo>
                  <a:pt x="7558484" y="1581166"/>
                </a:lnTo>
                <a:lnTo>
                  <a:pt x="7558484" y="1579579"/>
                </a:lnTo>
                <a:close/>
                <a:moveTo>
                  <a:pt x="1989231" y="1441086"/>
                </a:moveTo>
                <a:lnTo>
                  <a:pt x="1988695" y="1452607"/>
                </a:lnTo>
                <a:lnTo>
                  <a:pt x="1988961" y="1446877"/>
                </a:lnTo>
                <a:close/>
                <a:moveTo>
                  <a:pt x="1990194" y="1420396"/>
                </a:moveTo>
                <a:lnTo>
                  <a:pt x="1989661" y="1431892"/>
                </a:lnTo>
                <a:lnTo>
                  <a:pt x="1989231" y="1441086"/>
                </a:lnTo>
                <a:close/>
                <a:moveTo>
                  <a:pt x="6080978" y="1368460"/>
                </a:moveTo>
                <a:lnTo>
                  <a:pt x="6121479" y="1368460"/>
                </a:lnTo>
                <a:lnTo>
                  <a:pt x="6121479" y="1812965"/>
                </a:lnTo>
                <a:lnTo>
                  <a:pt x="6080978" y="1812965"/>
                </a:lnTo>
                <a:close/>
                <a:moveTo>
                  <a:pt x="469822" y="1366890"/>
                </a:moveTo>
                <a:cubicBezTo>
                  <a:pt x="469822" y="1366890"/>
                  <a:pt x="469822" y="1366890"/>
                  <a:pt x="539484" y="1366890"/>
                </a:cubicBezTo>
                <a:lnTo>
                  <a:pt x="539484" y="1369942"/>
                </a:lnTo>
                <a:cubicBezTo>
                  <a:pt x="539484" y="1369942"/>
                  <a:pt x="539484" y="1369942"/>
                  <a:pt x="469822" y="1369942"/>
                </a:cubicBezTo>
                <a:cubicBezTo>
                  <a:pt x="469822" y="1369942"/>
                  <a:pt x="469822" y="1369942"/>
                  <a:pt x="469822" y="1366890"/>
                </a:cubicBezTo>
                <a:close/>
                <a:moveTo>
                  <a:pt x="1993028" y="1359587"/>
                </a:moveTo>
                <a:lnTo>
                  <a:pt x="1991020" y="1402711"/>
                </a:lnTo>
                <a:lnTo>
                  <a:pt x="1990194" y="1420396"/>
                </a:lnTo>
                <a:close/>
                <a:moveTo>
                  <a:pt x="10238104" y="1343060"/>
                </a:moveTo>
                <a:lnTo>
                  <a:pt x="10279980" y="1343060"/>
                </a:lnTo>
                <a:lnTo>
                  <a:pt x="10330452" y="1343060"/>
                </a:lnTo>
                <a:cubicBezTo>
                  <a:pt x="10410779" y="1343060"/>
                  <a:pt x="10456679" y="1343060"/>
                  <a:pt x="10482908" y="1343060"/>
                </a:cubicBezTo>
                <a:lnTo>
                  <a:pt x="10492457" y="1343060"/>
                </a:lnTo>
                <a:lnTo>
                  <a:pt x="10503127" y="1343060"/>
                </a:lnTo>
                <a:cubicBezTo>
                  <a:pt x="10517881" y="1343060"/>
                  <a:pt x="10517881" y="1343060"/>
                  <a:pt x="10517881" y="1343060"/>
                </a:cubicBezTo>
                <a:lnTo>
                  <a:pt x="10707928" y="1343060"/>
                </a:lnTo>
                <a:lnTo>
                  <a:pt x="10685970" y="2282834"/>
                </a:lnTo>
                <a:lnTo>
                  <a:pt x="10717657" y="2282834"/>
                </a:lnTo>
                <a:lnTo>
                  <a:pt x="10750058" y="2282834"/>
                </a:lnTo>
                <a:lnTo>
                  <a:pt x="10750058" y="3722511"/>
                </a:lnTo>
                <a:lnTo>
                  <a:pt x="10027880" y="3722511"/>
                </a:lnTo>
                <a:lnTo>
                  <a:pt x="10027880" y="3718205"/>
                </a:lnTo>
                <a:cubicBezTo>
                  <a:pt x="10027880" y="3718205"/>
                  <a:pt x="10027880" y="3718205"/>
                  <a:pt x="10027880" y="3680554"/>
                </a:cubicBezTo>
                <a:cubicBezTo>
                  <a:pt x="10027880" y="3680554"/>
                  <a:pt x="10027880" y="3680554"/>
                  <a:pt x="10027880" y="3660473"/>
                </a:cubicBezTo>
                <a:cubicBezTo>
                  <a:pt x="10027880" y="3660473"/>
                  <a:pt x="10027880" y="3660473"/>
                  <a:pt x="10027880" y="3622822"/>
                </a:cubicBezTo>
                <a:cubicBezTo>
                  <a:pt x="10027880" y="3622822"/>
                  <a:pt x="10027880" y="3622822"/>
                  <a:pt x="10027880" y="3602741"/>
                </a:cubicBezTo>
                <a:cubicBezTo>
                  <a:pt x="10027880" y="3602741"/>
                  <a:pt x="10027880" y="3602741"/>
                  <a:pt x="10027880" y="3565090"/>
                </a:cubicBezTo>
                <a:cubicBezTo>
                  <a:pt x="10027880" y="3565090"/>
                  <a:pt x="10027880" y="3565090"/>
                  <a:pt x="10027880" y="3545009"/>
                </a:cubicBezTo>
                <a:cubicBezTo>
                  <a:pt x="10027880" y="3545009"/>
                  <a:pt x="10027880" y="3545009"/>
                  <a:pt x="10027880" y="3507358"/>
                </a:cubicBezTo>
                <a:cubicBezTo>
                  <a:pt x="10027880" y="3507358"/>
                  <a:pt x="10027880" y="3507358"/>
                  <a:pt x="10027880" y="3487277"/>
                </a:cubicBezTo>
                <a:cubicBezTo>
                  <a:pt x="10027880" y="3487277"/>
                  <a:pt x="10027880" y="3487277"/>
                  <a:pt x="10027880" y="3449626"/>
                </a:cubicBezTo>
                <a:cubicBezTo>
                  <a:pt x="10027880" y="3449626"/>
                  <a:pt x="10027880" y="3449626"/>
                  <a:pt x="10027880" y="3429545"/>
                </a:cubicBezTo>
                <a:cubicBezTo>
                  <a:pt x="10027880" y="3429545"/>
                  <a:pt x="10027880" y="3429545"/>
                  <a:pt x="10027880" y="3391894"/>
                </a:cubicBezTo>
                <a:cubicBezTo>
                  <a:pt x="10027880" y="3391894"/>
                  <a:pt x="10027880" y="3391894"/>
                  <a:pt x="10027880" y="3371813"/>
                </a:cubicBezTo>
                <a:cubicBezTo>
                  <a:pt x="10027880" y="3371813"/>
                  <a:pt x="10027880" y="3371813"/>
                  <a:pt x="10027880" y="3334162"/>
                </a:cubicBezTo>
                <a:cubicBezTo>
                  <a:pt x="10027880" y="3334162"/>
                  <a:pt x="10027880" y="3334162"/>
                  <a:pt x="10027880" y="3314081"/>
                </a:cubicBezTo>
                <a:cubicBezTo>
                  <a:pt x="10027880" y="3314081"/>
                  <a:pt x="10027880" y="3314081"/>
                  <a:pt x="10027880" y="3276430"/>
                </a:cubicBezTo>
                <a:cubicBezTo>
                  <a:pt x="10027880" y="3276430"/>
                  <a:pt x="10027880" y="3276430"/>
                  <a:pt x="10027880" y="3256349"/>
                </a:cubicBezTo>
                <a:cubicBezTo>
                  <a:pt x="10027880" y="3256349"/>
                  <a:pt x="10027880" y="3256349"/>
                  <a:pt x="10027880" y="3218698"/>
                </a:cubicBezTo>
                <a:cubicBezTo>
                  <a:pt x="10027880" y="3218698"/>
                  <a:pt x="10027880" y="3218698"/>
                  <a:pt x="10027880" y="3198617"/>
                </a:cubicBezTo>
                <a:cubicBezTo>
                  <a:pt x="10027880" y="3198617"/>
                  <a:pt x="10027880" y="3198617"/>
                  <a:pt x="10027880" y="3160966"/>
                </a:cubicBezTo>
                <a:cubicBezTo>
                  <a:pt x="10027880" y="3160966"/>
                  <a:pt x="10027880" y="3160966"/>
                  <a:pt x="10027880" y="3140885"/>
                </a:cubicBezTo>
                <a:cubicBezTo>
                  <a:pt x="10027880" y="3140885"/>
                  <a:pt x="10027880" y="3140885"/>
                  <a:pt x="10027880" y="3103234"/>
                </a:cubicBezTo>
                <a:cubicBezTo>
                  <a:pt x="10027880" y="3103234"/>
                  <a:pt x="10027880" y="3103234"/>
                  <a:pt x="10027880" y="3083153"/>
                </a:cubicBezTo>
                <a:cubicBezTo>
                  <a:pt x="10027880" y="3083153"/>
                  <a:pt x="10027880" y="3083153"/>
                  <a:pt x="10027880" y="3048012"/>
                </a:cubicBezTo>
                <a:cubicBezTo>
                  <a:pt x="10027880" y="3048012"/>
                  <a:pt x="10027880" y="3048012"/>
                  <a:pt x="10027880" y="3025421"/>
                </a:cubicBezTo>
                <a:cubicBezTo>
                  <a:pt x="10027880" y="3025421"/>
                  <a:pt x="10027880" y="3025421"/>
                  <a:pt x="10027880" y="2990280"/>
                </a:cubicBezTo>
                <a:cubicBezTo>
                  <a:pt x="10027880" y="2990280"/>
                  <a:pt x="10027880" y="2990280"/>
                  <a:pt x="10027880" y="2967689"/>
                </a:cubicBezTo>
                <a:cubicBezTo>
                  <a:pt x="10027880" y="2967689"/>
                  <a:pt x="10027880" y="2967689"/>
                  <a:pt x="10027880" y="2932548"/>
                </a:cubicBezTo>
                <a:cubicBezTo>
                  <a:pt x="10027880" y="2932548"/>
                  <a:pt x="10027880" y="2932548"/>
                  <a:pt x="10027880" y="2909957"/>
                </a:cubicBezTo>
                <a:cubicBezTo>
                  <a:pt x="10027880" y="2909957"/>
                  <a:pt x="10027880" y="2909957"/>
                  <a:pt x="10027880" y="2874816"/>
                </a:cubicBezTo>
                <a:cubicBezTo>
                  <a:pt x="10027880" y="2874816"/>
                  <a:pt x="10027880" y="2874816"/>
                  <a:pt x="10027880" y="2854735"/>
                </a:cubicBezTo>
                <a:cubicBezTo>
                  <a:pt x="10027880" y="2854735"/>
                  <a:pt x="10027880" y="2854735"/>
                  <a:pt x="10027880" y="2817084"/>
                </a:cubicBezTo>
                <a:cubicBezTo>
                  <a:pt x="10027880" y="2817084"/>
                  <a:pt x="10027880" y="2817084"/>
                  <a:pt x="10027880" y="2797003"/>
                </a:cubicBezTo>
                <a:cubicBezTo>
                  <a:pt x="10027880" y="2797003"/>
                  <a:pt x="10027880" y="2797003"/>
                  <a:pt x="10027880" y="2759352"/>
                </a:cubicBezTo>
                <a:cubicBezTo>
                  <a:pt x="10027880" y="2759352"/>
                  <a:pt x="10027880" y="2759352"/>
                  <a:pt x="10027880" y="2739271"/>
                </a:cubicBezTo>
                <a:cubicBezTo>
                  <a:pt x="10027880" y="2739271"/>
                  <a:pt x="10027880" y="2739271"/>
                  <a:pt x="10027880" y="2701620"/>
                </a:cubicBezTo>
                <a:cubicBezTo>
                  <a:pt x="10027880" y="2701620"/>
                  <a:pt x="10027880" y="2701620"/>
                  <a:pt x="10027880" y="2681539"/>
                </a:cubicBezTo>
                <a:cubicBezTo>
                  <a:pt x="10027880" y="2681539"/>
                  <a:pt x="10027880" y="2681539"/>
                  <a:pt x="10027880" y="2643888"/>
                </a:cubicBezTo>
                <a:cubicBezTo>
                  <a:pt x="10027880" y="2643888"/>
                  <a:pt x="10027880" y="2643888"/>
                  <a:pt x="10027880" y="2623807"/>
                </a:cubicBezTo>
                <a:cubicBezTo>
                  <a:pt x="10027880" y="2623807"/>
                  <a:pt x="10027880" y="2623807"/>
                  <a:pt x="10027880" y="2586156"/>
                </a:cubicBezTo>
                <a:cubicBezTo>
                  <a:pt x="10027880" y="2586156"/>
                  <a:pt x="10027880" y="2586156"/>
                  <a:pt x="10027880" y="2578626"/>
                </a:cubicBezTo>
                <a:cubicBezTo>
                  <a:pt x="10027880" y="2578626"/>
                  <a:pt x="10027880" y="2578626"/>
                  <a:pt x="10035566" y="2578626"/>
                </a:cubicBezTo>
                <a:cubicBezTo>
                  <a:pt x="10035566" y="2578626"/>
                  <a:pt x="10035566" y="2578626"/>
                  <a:pt x="10035566" y="2350208"/>
                </a:cubicBezTo>
                <a:cubicBezTo>
                  <a:pt x="10035566" y="2350208"/>
                  <a:pt x="10035566" y="2350208"/>
                  <a:pt x="10094486" y="2382839"/>
                </a:cubicBezTo>
                <a:cubicBezTo>
                  <a:pt x="10107295" y="2566075"/>
                  <a:pt x="10122665" y="2776923"/>
                  <a:pt x="10140597" y="3012871"/>
                </a:cubicBezTo>
                <a:cubicBezTo>
                  <a:pt x="10147002" y="3096645"/>
                  <a:pt x="10153206" y="3176850"/>
                  <a:pt x="10159206" y="3253555"/>
                </a:cubicBezTo>
                <a:lnTo>
                  <a:pt x="10165424" y="3332163"/>
                </a:lnTo>
                <a:lnTo>
                  <a:pt x="10166626" y="3332163"/>
                </a:lnTo>
                <a:lnTo>
                  <a:pt x="10157514" y="3217332"/>
                </a:lnTo>
                <a:cubicBezTo>
                  <a:pt x="10152353" y="3151621"/>
                  <a:pt x="10147047" y="3083402"/>
                  <a:pt x="10141602" y="3012633"/>
                </a:cubicBezTo>
                <a:cubicBezTo>
                  <a:pt x="10054475" y="1880336"/>
                  <a:pt x="10033975" y="1355613"/>
                  <a:pt x="10033975" y="1355613"/>
                </a:cubicBezTo>
                <a:cubicBezTo>
                  <a:pt x="10033975" y="1355613"/>
                  <a:pt x="10033975" y="1355613"/>
                  <a:pt x="10198779" y="1347203"/>
                </a:cubicBezTo>
                <a:lnTo>
                  <a:pt x="10238237" y="1345190"/>
                </a:lnTo>
                <a:close/>
                <a:moveTo>
                  <a:pt x="1994366" y="1330892"/>
                </a:moveTo>
                <a:lnTo>
                  <a:pt x="1993028" y="1359587"/>
                </a:lnTo>
                <a:lnTo>
                  <a:pt x="1993260" y="1354601"/>
                </a:lnTo>
                <a:close/>
                <a:moveTo>
                  <a:pt x="1995072" y="1315726"/>
                </a:moveTo>
                <a:lnTo>
                  <a:pt x="1994366" y="1330892"/>
                </a:lnTo>
                <a:lnTo>
                  <a:pt x="1994877" y="1319899"/>
                </a:lnTo>
                <a:close/>
                <a:moveTo>
                  <a:pt x="7742458" y="1257859"/>
                </a:moveTo>
                <a:cubicBezTo>
                  <a:pt x="7742458" y="1257859"/>
                  <a:pt x="7742458" y="1257859"/>
                  <a:pt x="7742458" y="1280490"/>
                </a:cubicBezTo>
                <a:cubicBezTo>
                  <a:pt x="7742458" y="1280490"/>
                  <a:pt x="7742458" y="1280490"/>
                  <a:pt x="7803830" y="1280490"/>
                </a:cubicBezTo>
                <a:lnTo>
                  <a:pt x="7803830" y="1257859"/>
                </a:lnTo>
                <a:cubicBezTo>
                  <a:pt x="7803830" y="1257859"/>
                  <a:pt x="7803830" y="1257859"/>
                  <a:pt x="7742458" y="1257859"/>
                </a:cubicBezTo>
                <a:close/>
                <a:moveTo>
                  <a:pt x="2001078" y="1186842"/>
                </a:moveTo>
                <a:lnTo>
                  <a:pt x="1996607" y="1282831"/>
                </a:lnTo>
                <a:lnTo>
                  <a:pt x="1995072" y="1315726"/>
                </a:lnTo>
                <a:lnTo>
                  <a:pt x="1999545" y="1219737"/>
                </a:lnTo>
                <a:close/>
                <a:moveTo>
                  <a:pt x="2001785" y="1171676"/>
                </a:moveTo>
                <a:lnTo>
                  <a:pt x="2001078" y="1186842"/>
                </a:lnTo>
                <a:lnTo>
                  <a:pt x="2001271" y="1182669"/>
                </a:lnTo>
                <a:close/>
                <a:moveTo>
                  <a:pt x="2003121" y="1142981"/>
                </a:moveTo>
                <a:lnTo>
                  <a:pt x="2002889" y="1147967"/>
                </a:lnTo>
                <a:lnTo>
                  <a:pt x="2001785" y="1171676"/>
                </a:lnTo>
                <a:close/>
                <a:moveTo>
                  <a:pt x="262344" y="1113683"/>
                </a:moveTo>
                <a:lnTo>
                  <a:pt x="261655" y="1116779"/>
                </a:lnTo>
                <a:lnTo>
                  <a:pt x="261674" y="1116690"/>
                </a:lnTo>
                <a:close/>
                <a:moveTo>
                  <a:pt x="267151" y="1092123"/>
                </a:moveTo>
                <a:lnTo>
                  <a:pt x="262344" y="1113683"/>
                </a:lnTo>
                <a:lnTo>
                  <a:pt x="263380" y="1109036"/>
                </a:lnTo>
                <a:close/>
                <a:moveTo>
                  <a:pt x="270308" y="1077963"/>
                </a:moveTo>
                <a:lnTo>
                  <a:pt x="268012" y="1088260"/>
                </a:lnTo>
                <a:lnTo>
                  <a:pt x="267151" y="1092123"/>
                </a:lnTo>
                <a:close/>
                <a:moveTo>
                  <a:pt x="272169" y="1069613"/>
                </a:moveTo>
                <a:lnTo>
                  <a:pt x="270308" y="1077963"/>
                </a:lnTo>
                <a:lnTo>
                  <a:pt x="270449" y="1077325"/>
                </a:lnTo>
                <a:close/>
                <a:moveTo>
                  <a:pt x="276117" y="1051901"/>
                </a:moveTo>
                <a:lnTo>
                  <a:pt x="272169" y="1069613"/>
                </a:lnTo>
                <a:lnTo>
                  <a:pt x="275081" y="1056549"/>
                </a:lnTo>
                <a:close/>
                <a:moveTo>
                  <a:pt x="277031" y="1047801"/>
                </a:moveTo>
                <a:lnTo>
                  <a:pt x="276117" y="1051901"/>
                </a:lnTo>
                <a:lnTo>
                  <a:pt x="276787" y="1048894"/>
                </a:lnTo>
                <a:cubicBezTo>
                  <a:pt x="277031" y="1047801"/>
                  <a:pt x="277031" y="1047801"/>
                  <a:pt x="277031" y="1047801"/>
                </a:cubicBezTo>
                <a:close/>
                <a:moveTo>
                  <a:pt x="4155691" y="1041533"/>
                </a:moveTo>
                <a:lnTo>
                  <a:pt x="4025446" y="1226214"/>
                </a:lnTo>
                <a:lnTo>
                  <a:pt x="4022567" y="1230359"/>
                </a:lnTo>
                <a:lnTo>
                  <a:pt x="4178028" y="1230359"/>
                </a:lnTo>
                <a:lnTo>
                  <a:pt x="4178028" y="1227498"/>
                </a:lnTo>
                <a:cubicBezTo>
                  <a:pt x="4178028" y="1220111"/>
                  <a:pt x="4178028" y="1194258"/>
                  <a:pt x="4178028" y="1103769"/>
                </a:cubicBezTo>
                <a:lnTo>
                  <a:pt x="4178028" y="1041533"/>
                </a:lnTo>
                <a:close/>
                <a:moveTo>
                  <a:pt x="4200732" y="1041446"/>
                </a:moveTo>
                <a:lnTo>
                  <a:pt x="4200732" y="1074529"/>
                </a:lnTo>
                <a:cubicBezTo>
                  <a:pt x="4200732" y="1134736"/>
                  <a:pt x="4200732" y="1185368"/>
                  <a:pt x="4200732" y="1227947"/>
                </a:cubicBezTo>
                <a:lnTo>
                  <a:pt x="4200732" y="1230359"/>
                </a:lnTo>
                <a:lnTo>
                  <a:pt x="4356259" y="1230359"/>
                </a:lnTo>
                <a:lnTo>
                  <a:pt x="4223030" y="1041446"/>
                </a:lnTo>
                <a:close/>
                <a:moveTo>
                  <a:pt x="279512" y="1038124"/>
                </a:moveTo>
                <a:lnTo>
                  <a:pt x="277037" y="1047770"/>
                </a:lnTo>
                <a:cubicBezTo>
                  <a:pt x="277037" y="1047770"/>
                  <a:pt x="277037" y="1047770"/>
                  <a:pt x="278206" y="1043211"/>
                </a:cubicBezTo>
                <a:close/>
                <a:moveTo>
                  <a:pt x="283918" y="1020948"/>
                </a:moveTo>
                <a:lnTo>
                  <a:pt x="280984" y="1032385"/>
                </a:lnTo>
                <a:lnTo>
                  <a:pt x="279512" y="1038124"/>
                </a:lnTo>
                <a:lnTo>
                  <a:pt x="282446" y="1026687"/>
                </a:lnTo>
                <a:close/>
                <a:moveTo>
                  <a:pt x="286393" y="1011302"/>
                </a:moveTo>
                <a:lnTo>
                  <a:pt x="283918" y="1020948"/>
                </a:lnTo>
                <a:lnTo>
                  <a:pt x="285224" y="1015860"/>
                </a:lnTo>
                <a:cubicBezTo>
                  <a:pt x="286393" y="1011302"/>
                  <a:pt x="286393" y="1011302"/>
                  <a:pt x="286393" y="1011302"/>
                </a:cubicBezTo>
                <a:close/>
                <a:moveTo>
                  <a:pt x="330494" y="611237"/>
                </a:moveTo>
                <a:lnTo>
                  <a:pt x="330494" y="611238"/>
                </a:lnTo>
                <a:lnTo>
                  <a:pt x="330494" y="611436"/>
                </a:lnTo>
                <a:lnTo>
                  <a:pt x="330499" y="611352"/>
                </a:lnTo>
                <a:lnTo>
                  <a:pt x="330499" y="611249"/>
                </a:lnTo>
                <a:lnTo>
                  <a:pt x="330499" y="611248"/>
                </a:lnTo>
                <a:lnTo>
                  <a:pt x="330502" y="611300"/>
                </a:lnTo>
                <a:lnTo>
                  <a:pt x="330505" y="611248"/>
                </a:lnTo>
                <a:lnTo>
                  <a:pt x="352084" y="976364"/>
                </a:lnTo>
                <a:lnTo>
                  <a:pt x="376781" y="976364"/>
                </a:lnTo>
                <a:cubicBezTo>
                  <a:pt x="381409" y="976364"/>
                  <a:pt x="386038" y="977951"/>
                  <a:pt x="389509" y="980730"/>
                </a:cubicBezTo>
                <a:lnTo>
                  <a:pt x="389514" y="980739"/>
                </a:lnTo>
                <a:lnTo>
                  <a:pt x="389523" y="980742"/>
                </a:lnTo>
                <a:cubicBezTo>
                  <a:pt x="392989" y="983520"/>
                  <a:pt x="395301" y="987488"/>
                  <a:pt x="395301" y="992251"/>
                </a:cubicBezTo>
                <a:cubicBezTo>
                  <a:pt x="395301" y="1001776"/>
                  <a:pt x="386055" y="1011301"/>
                  <a:pt x="376809" y="1011301"/>
                </a:cubicBezTo>
                <a:lnTo>
                  <a:pt x="375056" y="1011301"/>
                </a:lnTo>
                <a:lnTo>
                  <a:pt x="401934" y="1116657"/>
                </a:lnTo>
                <a:lnTo>
                  <a:pt x="405245" y="1118808"/>
                </a:lnTo>
                <a:cubicBezTo>
                  <a:pt x="424202" y="1137096"/>
                  <a:pt x="435807" y="1162242"/>
                  <a:pt x="435807" y="1189675"/>
                </a:cubicBezTo>
                <a:cubicBezTo>
                  <a:pt x="435807" y="1189675"/>
                  <a:pt x="435807" y="1189675"/>
                  <a:pt x="435807" y="1196152"/>
                </a:cubicBezTo>
                <a:lnTo>
                  <a:pt x="435807" y="1206451"/>
                </a:lnTo>
                <a:lnTo>
                  <a:pt x="442661" y="1216485"/>
                </a:lnTo>
                <a:cubicBezTo>
                  <a:pt x="448698" y="1230737"/>
                  <a:pt x="452008" y="1246509"/>
                  <a:pt x="452008" y="1263232"/>
                </a:cubicBezTo>
                <a:cubicBezTo>
                  <a:pt x="452008" y="1263232"/>
                  <a:pt x="452008" y="1263232"/>
                  <a:pt x="452008" y="1270833"/>
                </a:cubicBezTo>
                <a:lnTo>
                  <a:pt x="452008" y="1283145"/>
                </a:lnTo>
                <a:lnTo>
                  <a:pt x="456130" y="1289231"/>
                </a:lnTo>
                <a:cubicBezTo>
                  <a:pt x="462887" y="1305389"/>
                  <a:pt x="466582" y="1323311"/>
                  <a:pt x="466582" y="1342376"/>
                </a:cubicBezTo>
                <a:lnTo>
                  <a:pt x="466582" y="1342612"/>
                </a:lnTo>
                <a:lnTo>
                  <a:pt x="466587" y="1342642"/>
                </a:lnTo>
                <a:cubicBezTo>
                  <a:pt x="466587" y="1342642"/>
                  <a:pt x="466587" y="1342642"/>
                  <a:pt x="466587" y="1351430"/>
                </a:cubicBezTo>
                <a:lnTo>
                  <a:pt x="466587" y="1363960"/>
                </a:lnTo>
                <a:lnTo>
                  <a:pt x="469767" y="1370080"/>
                </a:lnTo>
                <a:lnTo>
                  <a:pt x="469822" y="1370080"/>
                </a:lnTo>
                <a:lnTo>
                  <a:pt x="469825" y="1370080"/>
                </a:lnTo>
                <a:lnTo>
                  <a:pt x="469822" y="1370065"/>
                </a:lnTo>
                <a:cubicBezTo>
                  <a:pt x="469822" y="1370065"/>
                  <a:pt x="469822" y="1370065"/>
                  <a:pt x="539484" y="1370065"/>
                </a:cubicBezTo>
                <a:lnTo>
                  <a:pt x="539484" y="1370080"/>
                </a:lnTo>
                <a:lnTo>
                  <a:pt x="539486" y="1370080"/>
                </a:lnTo>
                <a:lnTo>
                  <a:pt x="539486" y="1681233"/>
                </a:lnTo>
                <a:lnTo>
                  <a:pt x="588084" y="1681233"/>
                </a:lnTo>
                <a:lnTo>
                  <a:pt x="588085" y="1681233"/>
                </a:lnTo>
                <a:lnTo>
                  <a:pt x="588091" y="1681233"/>
                </a:lnTo>
                <a:lnTo>
                  <a:pt x="588091" y="3602100"/>
                </a:lnTo>
                <a:lnTo>
                  <a:pt x="662607" y="3602100"/>
                </a:lnTo>
                <a:lnTo>
                  <a:pt x="662607" y="3602126"/>
                </a:lnTo>
                <a:lnTo>
                  <a:pt x="662610" y="3602126"/>
                </a:lnTo>
                <a:lnTo>
                  <a:pt x="662610" y="3722511"/>
                </a:lnTo>
                <a:lnTo>
                  <a:pt x="0" y="3722511"/>
                </a:lnTo>
                <a:lnTo>
                  <a:pt x="0" y="3602100"/>
                </a:lnTo>
                <a:lnTo>
                  <a:pt x="1" y="3602100"/>
                </a:lnTo>
                <a:lnTo>
                  <a:pt x="76146" y="3602100"/>
                </a:lnTo>
                <a:lnTo>
                  <a:pt x="76146" y="3552888"/>
                </a:lnTo>
                <a:lnTo>
                  <a:pt x="76142" y="3552888"/>
                </a:lnTo>
                <a:lnTo>
                  <a:pt x="76142" y="3508438"/>
                </a:lnTo>
                <a:lnTo>
                  <a:pt x="76146" y="3508438"/>
                </a:lnTo>
                <a:lnTo>
                  <a:pt x="76146" y="3443350"/>
                </a:lnTo>
                <a:lnTo>
                  <a:pt x="76142" y="3443350"/>
                </a:lnTo>
                <a:lnTo>
                  <a:pt x="76142" y="3397312"/>
                </a:lnTo>
                <a:lnTo>
                  <a:pt x="76146" y="3397312"/>
                </a:lnTo>
                <a:lnTo>
                  <a:pt x="76146" y="3333812"/>
                </a:lnTo>
                <a:lnTo>
                  <a:pt x="76144" y="3333812"/>
                </a:lnTo>
                <a:lnTo>
                  <a:pt x="76144" y="3284599"/>
                </a:lnTo>
                <a:lnTo>
                  <a:pt x="76146" y="3284599"/>
                </a:lnTo>
                <a:lnTo>
                  <a:pt x="76146" y="3221099"/>
                </a:lnTo>
                <a:lnTo>
                  <a:pt x="76144" y="3221099"/>
                </a:lnTo>
                <a:lnTo>
                  <a:pt x="76144" y="3175061"/>
                </a:lnTo>
                <a:lnTo>
                  <a:pt x="76146" y="3175061"/>
                </a:lnTo>
                <a:lnTo>
                  <a:pt x="76146" y="3111561"/>
                </a:lnTo>
                <a:lnTo>
                  <a:pt x="76144" y="3111561"/>
                </a:lnTo>
                <a:lnTo>
                  <a:pt x="76144" y="3065523"/>
                </a:lnTo>
                <a:lnTo>
                  <a:pt x="76146" y="3065523"/>
                </a:lnTo>
                <a:lnTo>
                  <a:pt x="76146" y="3002023"/>
                </a:lnTo>
                <a:lnTo>
                  <a:pt x="76144" y="3002023"/>
                </a:lnTo>
                <a:lnTo>
                  <a:pt x="76144" y="2955985"/>
                </a:lnTo>
                <a:lnTo>
                  <a:pt x="76146" y="2955985"/>
                </a:lnTo>
                <a:lnTo>
                  <a:pt x="76146" y="2892485"/>
                </a:lnTo>
                <a:lnTo>
                  <a:pt x="76144" y="2892485"/>
                </a:lnTo>
                <a:lnTo>
                  <a:pt x="76144" y="2846447"/>
                </a:lnTo>
                <a:lnTo>
                  <a:pt x="76146" y="2846447"/>
                </a:lnTo>
                <a:lnTo>
                  <a:pt x="76146" y="2781359"/>
                </a:lnTo>
                <a:lnTo>
                  <a:pt x="76144" y="2781359"/>
                </a:lnTo>
                <a:lnTo>
                  <a:pt x="76144" y="2733734"/>
                </a:lnTo>
                <a:lnTo>
                  <a:pt x="76146" y="2733734"/>
                </a:lnTo>
                <a:lnTo>
                  <a:pt x="76146" y="2668646"/>
                </a:lnTo>
                <a:lnTo>
                  <a:pt x="76144" y="2668646"/>
                </a:lnTo>
                <a:lnTo>
                  <a:pt x="76144" y="2624196"/>
                </a:lnTo>
                <a:lnTo>
                  <a:pt x="76146" y="2624196"/>
                </a:lnTo>
                <a:lnTo>
                  <a:pt x="76146" y="2559109"/>
                </a:lnTo>
                <a:lnTo>
                  <a:pt x="76145" y="2559109"/>
                </a:lnTo>
                <a:lnTo>
                  <a:pt x="76145" y="2513071"/>
                </a:lnTo>
                <a:lnTo>
                  <a:pt x="76146" y="2513071"/>
                </a:lnTo>
                <a:lnTo>
                  <a:pt x="76146" y="2449571"/>
                </a:lnTo>
                <a:lnTo>
                  <a:pt x="76145" y="2449571"/>
                </a:lnTo>
                <a:lnTo>
                  <a:pt x="76145" y="2403533"/>
                </a:lnTo>
                <a:lnTo>
                  <a:pt x="76146" y="2403533"/>
                </a:lnTo>
                <a:lnTo>
                  <a:pt x="76146" y="2340033"/>
                </a:lnTo>
                <a:lnTo>
                  <a:pt x="76145" y="2340033"/>
                </a:lnTo>
                <a:lnTo>
                  <a:pt x="76145" y="2290820"/>
                </a:lnTo>
                <a:lnTo>
                  <a:pt x="76146" y="2290820"/>
                </a:lnTo>
                <a:lnTo>
                  <a:pt x="76146" y="2230495"/>
                </a:lnTo>
                <a:lnTo>
                  <a:pt x="76145" y="2230495"/>
                </a:lnTo>
                <a:lnTo>
                  <a:pt x="76145" y="2181282"/>
                </a:lnTo>
                <a:lnTo>
                  <a:pt x="76146" y="2181282"/>
                </a:lnTo>
                <a:lnTo>
                  <a:pt x="76146" y="2117782"/>
                </a:lnTo>
                <a:lnTo>
                  <a:pt x="76145" y="2117782"/>
                </a:lnTo>
                <a:lnTo>
                  <a:pt x="76145" y="2071744"/>
                </a:lnTo>
                <a:lnTo>
                  <a:pt x="76146" y="2071744"/>
                </a:lnTo>
                <a:lnTo>
                  <a:pt x="76146" y="2008244"/>
                </a:lnTo>
                <a:lnTo>
                  <a:pt x="76145" y="2008244"/>
                </a:lnTo>
                <a:lnTo>
                  <a:pt x="76145" y="1962206"/>
                </a:lnTo>
                <a:lnTo>
                  <a:pt x="76146" y="1962206"/>
                </a:lnTo>
                <a:lnTo>
                  <a:pt x="76146" y="1897118"/>
                </a:lnTo>
                <a:lnTo>
                  <a:pt x="76146" y="1852668"/>
                </a:lnTo>
                <a:lnTo>
                  <a:pt x="76146" y="1787580"/>
                </a:lnTo>
                <a:lnTo>
                  <a:pt x="76146" y="1739955"/>
                </a:lnTo>
                <a:lnTo>
                  <a:pt x="76146" y="1681217"/>
                </a:lnTo>
                <a:lnTo>
                  <a:pt x="124756" y="1681217"/>
                </a:lnTo>
                <a:lnTo>
                  <a:pt x="124756" y="1681216"/>
                </a:lnTo>
                <a:lnTo>
                  <a:pt x="124744" y="1681216"/>
                </a:lnTo>
                <a:cubicBezTo>
                  <a:pt x="124744" y="1681216"/>
                  <a:pt x="124744" y="1681216"/>
                  <a:pt x="124744" y="1370065"/>
                </a:cubicBezTo>
                <a:cubicBezTo>
                  <a:pt x="124744" y="1370065"/>
                  <a:pt x="124744" y="1370065"/>
                  <a:pt x="192785" y="1370065"/>
                </a:cubicBezTo>
                <a:lnTo>
                  <a:pt x="192780" y="1370080"/>
                </a:lnTo>
                <a:lnTo>
                  <a:pt x="192790" y="1370080"/>
                </a:lnTo>
                <a:lnTo>
                  <a:pt x="192801" y="1370080"/>
                </a:lnTo>
                <a:lnTo>
                  <a:pt x="192801" y="1363694"/>
                </a:lnTo>
                <a:lnTo>
                  <a:pt x="192789" y="1363716"/>
                </a:lnTo>
                <a:cubicBezTo>
                  <a:pt x="192789" y="1363716"/>
                  <a:pt x="192789" y="1363716"/>
                  <a:pt x="192789" y="1342362"/>
                </a:cubicBezTo>
                <a:cubicBezTo>
                  <a:pt x="192789" y="1342362"/>
                  <a:pt x="192789" y="1342362"/>
                  <a:pt x="192789" y="1339312"/>
                </a:cubicBezTo>
                <a:lnTo>
                  <a:pt x="196212" y="1325964"/>
                </a:lnTo>
                <a:lnTo>
                  <a:pt x="196251" y="1325773"/>
                </a:lnTo>
                <a:lnTo>
                  <a:pt x="203690" y="1289391"/>
                </a:lnTo>
                <a:lnTo>
                  <a:pt x="206597" y="1285198"/>
                </a:lnTo>
                <a:lnTo>
                  <a:pt x="206710" y="1285035"/>
                </a:lnTo>
                <a:lnTo>
                  <a:pt x="208437" y="1278302"/>
                </a:lnTo>
                <a:lnTo>
                  <a:pt x="208990" y="1277578"/>
                </a:lnTo>
                <a:lnTo>
                  <a:pt x="208990" y="1264243"/>
                </a:lnTo>
                <a:cubicBezTo>
                  <a:pt x="208990" y="1261176"/>
                  <a:pt x="208990" y="1261176"/>
                  <a:pt x="208990" y="1261176"/>
                </a:cubicBezTo>
                <a:lnTo>
                  <a:pt x="210402" y="1256543"/>
                </a:lnTo>
                <a:lnTo>
                  <a:pt x="218787" y="1216485"/>
                </a:lnTo>
                <a:lnTo>
                  <a:pt x="225541" y="1206871"/>
                </a:lnTo>
                <a:lnTo>
                  <a:pt x="227683" y="1199841"/>
                </a:lnTo>
                <a:lnTo>
                  <a:pt x="228431" y="1199145"/>
                </a:lnTo>
                <a:lnTo>
                  <a:pt x="228431" y="1199045"/>
                </a:lnTo>
                <a:cubicBezTo>
                  <a:pt x="228431" y="1197888"/>
                  <a:pt x="228431" y="1195573"/>
                  <a:pt x="228431" y="1190942"/>
                </a:cubicBezTo>
                <a:cubicBezTo>
                  <a:pt x="228431" y="1190942"/>
                  <a:pt x="228431" y="1190942"/>
                  <a:pt x="228431" y="1187856"/>
                </a:cubicBezTo>
                <a:lnTo>
                  <a:pt x="228738" y="1186508"/>
                </a:lnTo>
                <a:lnTo>
                  <a:pt x="235143" y="1157623"/>
                </a:lnTo>
                <a:lnTo>
                  <a:pt x="236566" y="1150812"/>
                </a:lnTo>
                <a:lnTo>
                  <a:pt x="236694" y="1150628"/>
                </a:lnTo>
                <a:lnTo>
                  <a:pt x="237335" y="1147740"/>
                </a:lnTo>
                <a:lnTo>
                  <a:pt x="246086" y="1136998"/>
                </a:lnTo>
                <a:lnTo>
                  <a:pt x="258619" y="1118808"/>
                </a:lnTo>
                <a:lnTo>
                  <a:pt x="261655" y="1116779"/>
                </a:lnTo>
                <a:lnTo>
                  <a:pt x="262414" y="1116271"/>
                </a:lnTo>
                <a:lnTo>
                  <a:pt x="264989" y="1106181"/>
                </a:lnTo>
                <a:lnTo>
                  <a:pt x="268975" y="1088165"/>
                </a:lnTo>
                <a:cubicBezTo>
                  <a:pt x="271150" y="1078336"/>
                  <a:pt x="274049" y="1065230"/>
                  <a:pt x="277915" y="1047756"/>
                </a:cubicBezTo>
                <a:cubicBezTo>
                  <a:pt x="277915" y="1047756"/>
                  <a:pt x="277915" y="1047756"/>
                  <a:pt x="287193" y="1011289"/>
                </a:cubicBezTo>
                <a:lnTo>
                  <a:pt x="287402" y="1011289"/>
                </a:lnTo>
                <a:lnTo>
                  <a:pt x="287395" y="1011286"/>
                </a:lnTo>
                <a:lnTo>
                  <a:pt x="287383" y="1011286"/>
                </a:lnTo>
                <a:lnTo>
                  <a:pt x="277244" y="1006929"/>
                </a:lnTo>
                <a:lnTo>
                  <a:pt x="273562" y="1005348"/>
                </a:lnTo>
                <a:lnTo>
                  <a:pt x="273560" y="1005345"/>
                </a:lnTo>
                <a:lnTo>
                  <a:pt x="273531" y="1005333"/>
                </a:lnTo>
                <a:cubicBezTo>
                  <a:pt x="270453" y="1001761"/>
                  <a:pt x="268914" y="996998"/>
                  <a:pt x="268914" y="992236"/>
                </a:cubicBezTo>
                <a:cubicBezTo>
                  <a:pt x="268914" y="982711"/>
                  <a:pt x="275070" y="976361"/>
                  <a:pt x="287383" y="976361"/>
                </a:cubicBezTo>
                <a:cubicBezTo>
                  <a:pt x="287383" y="976361"/>
                  <a:pt x="287383" y="976361"/>
                  <a:pt x="305563" y="976361"/>
                </a:cubicBezTo>
                <a:lnTo>
                  <a:pt x="308926" y="976361"/>
                </a:lnTo>
                <a:lnTo>
                  <a:pt x="330011" y="619598"/>
                </a:lnTo>
                <a:close/>
                <a:moveTo>
                  <a:pt x="4187771" y="223881"/>
                </a:moveTo>
                <a:cubicBezTo>
                  <a:pt x="4194251" y="223881"/>
                  <a:pt x="4200732" y="226931"/>
                  <a:pt x="4200732" y="233031"/>
                </a:cubicBezTo>
                <a:lnTo>
                  <a:pt x="4200732" y="315956"/>
                </a:lnTo>
                <a:lnTo>
                  <a:pt x="4225032" y="315956"/>
                </a:lnTo>
                <a:lnTo>
                  <a:pt x="4225032" y="333419"/>
                </a:lnTo>
                <a:lnTo>
                  <a:pt x="4200732" y="333419"/>
                </a:lnTo>
                <a:lnTo>
                  <a:pt x="4200732" y="408592"/>
                </a:lnTo>
                <a:lnTo>
                  <a:pt x="4200732" y="488994"/>
                </a:lnTo>
                <a:lnTo>
                  <a:pt x="4225032" y="488994"/>
                </a:lnTo>
                <a:lnTo>
                  <a:pt x="4225032" y="511219"/>
                </a:lnTo>
                <a:lnTo>
                  <a:pt x="4200732" y="511219"/>
                </a:lnTo>
                <a:lnTo>
                  <a:pt x="4200732" y="566447"/>
                </a:lnTo>
                <a:lnTo>
                  <a:pt x="4200732" y="663620"/>
                </a:lnTo>
                <a:lnTo>
                  <a:pt x="4225032" y="663620"/>
                </a:lnTo>
                <a:lnTo>
                  <a:pt x="4225032" y="684258"/>
                </a:lnTo>
                <a:lnTo>
                  <a:pt x="4200732" y="684258"/>
                </a:lnTo>
                <a:lnTo>
                  <a:pt x="4200732" y="707539"/>
                </a:lnTo>
                <a:cubicBezTo>
                  <a:pt x="4200732" y="751880"/>
                  <a:pt x="4200732" y="793585"/>
                  <a:pt x="4200732" y="832808"/>
                </a:cubicBezTo>
                <a:lnTo>
                  <a:pt x="4200732" y="836658"/>
                </a:lnTo>
                <a:lnTo>
                  <a:pt x="4225032" y="836658"/>
                </a:lnTo>
                <a:lnTo>
                  <a:pt x="4225032" y="857296"/>
                </a:lnTo>
                <a:lnTo>
                  <a:pt x="4200732" y="857296"/>
                </a:lnTo>
                <a:lnTo>
                  <a:pt x="4200732" y="976847"/>
                </a:lnTo>
                <a:lnTo>
                  <a:pt x="4200732" y="992233"/>
                </a:lnTo>
                <a:lnTo>
                  <a:pt x="4284975" y="992233"/>
                </a:lnTo>
                <a:lnTo>
                  <a:pt x="4284975" y="1041446"/>
                </a:lnTo>
                <a:lnTo>
                  <a:pt x="4239126" y="1041446"/>
                </a:lnTo>
                <a:lnTo>
                  <a:pt x="4369219" y="1230359"/>
                </a:lnTo>
                <a:lnTo>
                  <a:pt x="4424303" y="1230359"/>
                </a:lnTo>
                <a:lnTo>
                  <a:pt x="4424303" y="1257346"/>
                </a:lnTo>
                <a:lnTo>
                  <a:pt x="4424303" y="1257347"/>
                </a:lnTo>
                <a:lnTo>
                  <a:pt x="4424303" y="1349421"/>
                </a:lnTo>
                <a:lnTo>
                  <a:pt x="4492347" y="1349421"/>
                </a:lnTo>
                <a:lnTo>
                  <a:pt x="4492347" y="1376409"/>
                </a:lnTo>
                <a:lnTo>
                  <a:pt x="4492347" y="1431972"/>
                </a:lnTo>
                <a:lnTo>
                  <a:pt x="4492347" y="1446260"/>
                </a:lnTo>
                <a:lnTo>
                  <a:pt x="4492347" y="1516109"/>
                </a:lnTo>
                <a:lnTo>
                  <a:pt x="4492347" y="1531984"/>
                </a:lnTo>
                <a:lnTo>
                  <a:pt x="4492347" y="1601834"/>
                </a:lnTo>
                <a:lnTo>
                  <a:pt x="4492347" y="1617709"/>
                </a:lnTo>
                <a:lnTo>
                  <a:pt x="4492347" y="1687560"/>
                </a:lnTo>
                <a:lnTo>
                  <a:pt x="4492347" y="1703435"/>
                </a:lnTo>
                <a:lnTo>
                  <a:pt x="4492347" y="1773285"/>
                </a:lnTo>
                <a:lnTo>
                  <a:pt x="4492347" y="1787573"/>
                </a:lnTo>
                <a:lnTo>
                  <a:pt x="4492347" y="1857423"/>
                </a:lnTo>
                <a:lnTo>
                  <a:pt x="4492347" y="1873298"/>
                </a:lnTo>
                <a:lnTo>
                  <a:pt x="4492347" y="1943148"/>
                </a:lnTo>
                <a:lnTo>
                  <a:pt x="4492347" y="1959023"/>
                </a:lnTo>
                <a:lnTo>
                  <a:pt x="4492347" y="2028873"/>
                </a:lnTo>
                <a:lnTo>
                  <a:pt x="4492347" y="2044748"/>
                </a:lnTo>
                <a:lnTo>
                  <a:pt x="4492347" y="2114598"/>
                </a:lnTo>
                <a:lnTo>
                  <a:pt x="4492347" y="2128886"/>
                </a:lnTo>
                <a:lnTo>
                  <a:pt x="4492347" y="2200323"/>
                </a:lnTo>
                <a:lnTo>
                  <a:pt x="4492347" y="2214611"/>
                </a:lnTo>
                <a:lnTo>
                  <a:pt x="4492347" y="2284461"/>
                </a:lnTo>
                <a:lnTo>
                  <a:pt x="4492347" y="2300336"/>
                </a:lnTo>
                <a:lnTo>
                  <a:pt x="4492347" y="2370186"/>
                </a:lnTo>
                <a:lnTo>
                  <a:pt x="4492347" y="2386061"/>
                </a:lnTo>
                <a:lnTo>
                  <a:pt x="4492347" y="2455912"/>
                </a:lnTo>
                <a:lnTo>
                  <a:pt x="4492347" y="2471787"/>
                </a:lnTo>
                <a:lnTo>
                  <a:pt x="4492347" y="2541637"/>
                </a:lnTo>
                <a:lnTo>
                  <a:pt x="4492347" y="2555925"/>
                </a:lnTo>
                <a:lnTo>
                  <a:pt x="4492347" y="2625775"/>
                </a:lnTo>
                <a:lnTo>
                  <a:pt x="4492347" y="2641650"/>
                </a:lnTo>
                <a:lnTo>
                  <a:pt x="4492347" y="2711500"/>
                </a:lnTo>
                <a:lnTo>
                  <a:pt x="4492347" y="2727375"/>
                </a:lnTo>
                <a:lnTo>
                  <a:pt x="4492347" y="2797225"/>
                </a:lnTo>
                <a:lnTo>
                  <a:pt x="4492347" y="2813100"/>
                </a:lnTo>
                <a:lnTo>
                  <a:pt x="4492347" y="2882950"/>
                </a:lnTo>
                <a:lnTo>
                  <a:pt x="4492347" y="2897238"/>
                </a:lnTo>
                <a:lnTo>
                  <a:pt x="4492347" y="2968675"/>
                </a:lnTo>
                <a:lnTo>
                  <a:pt x="4492347" y="2982963"/>
                </a:lnTo>
                <a:lnTo>
                  <a:pt x="4492347" y="3052813"/>
                </a:lnTo>
                <a:lnTo>
                  <a:pt x="4492347" y="3068688"/>
                </a:lnTo>
                <a:lnTo>
                  <a:pt x="4492347" y="3138538"/>
                </a:lnTo>
                <a:lnTo>
                  <a:pt x="4492347" y="3154413"/>
                </a:lnTo>
                <a:lnTo>
                  <a:pt x="4492347" y="3224264"/>
                </a:lnTo>
                <a:lnTo>
                  <a:pt x="4492347" y="3240139"/>
                </a:lnTo>
                <a:lnTo>
                  <a:pt x="4492347" y="3309989"/>
                </a:lnTo>
                <a:lnTo>
                  <a:pt x="4492347" y="3324277"/>
                </a:lnTo>
                <a:lnTo>
                  <a:pt x="4492347" y="3395714"/>
                </a:lnTo>
                <a:lnTo>
                  <a:pt x="4492347" y="3410002"/>
                </a:lnTo>
                <a:lnTo>
                  <a:pt x="4492347" y="3479852"/>
                </a:lnTo>
                <a:lnTo>
                  <a:pt x="4492347" y="3495727"/>
                </a:lnTo>
                <a:lnTo>
                  <a:pt x="4492347" y="3565577"/>
                </a:lnTo>
                <a:lnTo>
                  <a:pt x="4492347" y="3581452"/>
                </a:lnTo>
                <a:lnTo>
                  <a:pt x="4492347" y="3629279"/>
                </a:lnTo>
                <a:lnTo>
                  <a:pt x="4492419" y="3629142"/>
                </a:lnTo>
                <a:lnTo>
                  <a:pt x="4492419" y="3624328"/>
                </a:lnTo>
                <a:lnTo>
                  <a:pt x="4573424" y="3476690"/>
                </a:lnTo>
                <a:lnTo>
                  <a:pt x="4573425" y="3476690"/>
                </a:lnTo>
                <a:lnTo>
                  <a:pt x="4643089" y="3476690"/>
                </a:lnTo>
                <a:lnTo>
                  <a:pt x="4643089" y="2465449"/>
                </a:lnTo>
                <a:lnTo>
                  <a:pt x="4704652" y="2465449"/>
                </a:lnTo>
                <a:lnTo>
                  <a:pt x="4704652" y="2465448"/>
                </a:lnTo>
                <a:lnTo>
                  <a:pt x="4704652" y="2028884"/>
                </a:lnTo>
                <a:lnTo>
                  <a:pt x="4704652" y="1741545"/>
                </a:lnTo>
                <a:lnTo>
                  <a:pt x="4735434" y="1671695"/>
                </a:lnTo>
                <a:lnTo>
                  <a:pt x="4766216" y="1741545"/>
                </a:lnTo>
                <a:lnTo>
                  <a:pt x="4913644" y="1555807"/>
                </a:lnTo>
                <a:lnTo>
                  <a:pt x="4913644" y="1555808"/>
                </a:lnTo>
                <a:lnTo>
                  <a:pt x="4913645" y="1555807"/>
                </a:lnTo>
                <a:lnTo>
                  <a:pt x="5059454" y="1741545"/>
                </a:lnTo>
                <a:lnTo>
                  <a:pt x="5062694" y="1741545"/>
                </a:lnTo>
                <a:lnTo>
                  <a:pt x="5093475" y="1671695"/>
                </a:lnTo>
                <a:lnTo>
                  <a:pt x="5124257" y="1741545"/>
                </a:lnTo>
                <a:lnTo>
                  <a:pt x="5124257" y="2028884"/>
                </a:lnTo>
                <a:lnTo>
                  <a:pt x="5124257" y="2465449"/>
                </a:lnTo>
                <a:lnTo>
                  <a:pt x="5187441" y="2465449"/>
                </a:lnTo>
                <a:lnTo>
                  <a:pt x="5187441" y="3476690"/>
                </a:lnTo>
                <a:lnTo>
                  <a:pt x="5255485" y="3476690"/>
                </a:lnTo>
                <a:lnTo>
                  <a:pt x="5282926" y="3528335"/>
                </a:lnTo>
                <a:lnTo>
                  <a:pt x="5282926" y="2773408"/>
                </a:lnTo>
                <a:lnTo>
                  <a:pt x="5282941" y="2773408"/>
                </a:lnTo>
                <a:lnTo>
                  <a:pt x="5282941" y="2700418"/>
                </a:lnTo>
                <a:lnTo>
                  <a:pt x="5417408" y="2700418"/>
                </a:lnTo>
                <a:lnTo>
                  <a:pt x="5417409" y="2700417"/>
                </a:lnTo>
                <a:lnTo>
                  <a:pt x="5417408" y="2700417"/>
                </a:lnTo>
                <a:lnTo>
                  <a:pt x="5282941" y="2700417"/>
                </a:lnTo>
                <a:lnTo>
                  <a:pt x="5621538" y="2440065"/>
                </a:lnTo>
                <a:lnTo>
                  <a:pt x="5958515" y="2700417"/>
                </a:lnTo>
                <a:lnTo>
                  <a:pt x="5824047" y="2700417"/>
                </a:lnTo>
                <a:lnTo>
                  <a:pt x="5824048" y="2700418"/>
                </a:lnTo>
                <a:lnTo>
                  <a:pt x="5958515" y="2700418"/>
                </a:lnTo>
                <a:lnTo>
                  <a:pt x="5958515" y="2773444"/>
                </a:lnTo>
                <a:lnTo>
                  <a:pt x="5958498" y="2773444"/>
                </a:lnTo>
                <a:lnTo>
                  <a:pt x="5958498" y="3722511"/>
                </a:lnTo>
                <a:lnTo>
                  <a:pt x="1621689" y="3722511"/>
                </a:lnTo>
                <a:lnTo>
                  <a:pt x="1621689" y="2544808"/>
                </a:lnTo>
                <a:lnTo>
                  <a:pt x="1639501" y="2544808"/>
                </a:lnTo>
                <a:lnTo>
                  <a:pt x="1680000" y="2544808"/>
                </a:lnTo>
                <a:lnTo>
                  <a:pt x="1680000" y="2233658"/>
                </a:lnTo>
                <a:lnTo>
                  <a:pt x="1767513" y="2233658"/>
                </a:lnTo>
                <a:lnTo>
                  <a:pt x="1767513" y="1968545"/>
                </a:lnTo>
                <a:lnTo>
                  <a:pt x="1793446" y="1968545"/>
                </a:lnTo>
                <a:lnTo>
                  <a:pt x="1793446" y="1833608"/>
                </a:lnTo>
                <a:lnTo>
                  <a:pt x="1848543" y="1833608"/>
                </a:lnTo>
                <a:lnTo>
                  <a:pt x="1848543" y="1736770"/>
                </a:lnTo>
                <a:lnTo>
                  <a:pt x="1905234" y="1736770"/>
                </a:lnTo>
                <a:lnTo>
                  <a:pt x="1905234" y="1693908"/>
                </a:lnTo>
                <a:lnTo>
                  <a:pt x="1979758" y="1693908"/>
                </a:lnTo>
                <a:lnTo>
                  <a:pt x="1988915" y="1479595"/>
                </a:lnTo>
                <a:lnTo>
                  <a:pt x="1988666" y="1479595"/>
                </a:lnTo>
                <a:lnTo>
                  <a:pt x="1987883" y="1479595"/>
                </a:lnTo>
                <a:lnTo>
                  <a:pt x="1987492" y="1479595"/>
                </a:lnTo>
                <a:lnTo>
                  <a:pt x="1980334" y="1479595"/>
                </a:lnTo>
                <a:lnTo>
                  <a:pt x="1979256" y="1479595"/>
                </a:lnTo>
                <a:cubicBezTo>
                  <a:pt x="1974543" y="1479595"/>
                  <a:pt x="1970620" y="1478096"/>
                  <a:pt x="1967873" y="1475847"/>
                </a:cubicBezTo>
                <a:cubicBezTo>
                  <a:pt x="1965107" y="1473598"/>
                  <a:pt x="1963542" y="1470599"/>
                  <a:pt x="1963542" y="1467600"/>
                </a:cubicBezTo>
                <a:cubicBezTo>
                  <a:pt x="1963542" y="1458604"/>
                  <a:pt x="1969832" y="1452607"/>
                  <a:pt x="1979256" y="1452607"/>
                </a:cubicBezTo>
                <a:lnTo>
                  <a:pt x="1980433" y="1452607"/>
                </a:lnTo>
                <a:lnTo>
                  <a:pt x="1988666" y="1452607"/>
                </a:lnTo>
                <a:lnTo>
                  <a:pt x="1988695" y="1452607"/>
                </a:lnTo>
                <a:lnTo>
                  <a:pt x="1989477" y="1452607"/>
                </a:lnTo>
                <a:lnTo>
                  <a:pt x="2003620" y="1132318"/>
                </a:lnTo>
                <a:lnTo>
                  <a:pt x="2003121" y="1142981"/>
                </a:lnTo>
                <a:lnTo>
                  <a:pt x="2003620" y="1132317"/>
                </a:lnTo>
                <a:lnTo>
                  <a:pt x="2003620" y="1132271"/>
                </a:lnTo>
                <a:lnTo>
                  <a:pt x="2003926" y="1125367"/>
                </a:lnTo>
                <a:lnTo>
                  <a:pt x="2007272" y="1049602"/>
                </a:lnTo>
                <a:lnTo>
                  <a:pt x="2007280" y="1049382"/>
                </a:lnTo>
                <a:lnTo>
                  <a:pt x="2007283" y="1049382"/>
                </a:lnTo>
                <a:lnTo>
                  <a:pt x="2007483" y="1049382"/>
                </a:lnTo>
                <a:lnTo>
                  <a:pt x="2008268" y="1049382"/>
                </a:lnTo>
                <a:lnTo>
                  <a:pt x="2012971" y="1049382"/>
                </a:lnTo>
                <a:lnTo>
                  <a:pt x="2013755" y="1049382"/>
                </a:lnTo>
                <a:lnTo>
                  <a:pt x="2020230" y="1049382"/>
                </a:lnTo>
                <a:lnTo>
                  <a:pt x="2037377" y="1452607"/>
                </a:lnTo>
                <a:lnTo>
                  <a:pt x="2039561" y="1452607"/>
                </a:lnTo>
                <a:cubicBezTo>
                  <a:pt x="2048198" y="1452607"/>
                  <a:pt x="2048198" y="1452607"/>
                  <a:pt x="2048198" y="1452607"/>
                </a:cubicBezTo>
                <a:cubicBezTo>
                  <a:pt x="2057619" y="1452607"/>
                  <a:pt x="2063900" y="1458604"/>
                  <a:pt x="2063900" y="1467600"/>
                </a:cubicBezTo>
                <a:cubicBezTo>
                  <a:pt x="2063900" y="1473598"/>
                  <a:pt x="2057619" y="1479595"/>
                  <a:pt x="2048198" y="1479595"/>
                </a:cubicBezTo>
                <a:lnTo>
                  <a:pt x="2038529" y="1479595"/>
                </a:lnTo>
                <a:lnTo>
                  <a:pt x="2047691" y="1693908"/>
                </a:lnTo>
                <a:lnTo>
                  <a:pt x="2122229" y="1693908"/>
                </a:lnTo>
                <a:lnTo>
                  <a:pt x="2122229" y="1736770"/>
                </a:lnTo>
                <a:lnTo>
                  <a:pt x="2178885" y="1736770"/>
                </a:lnTo>
                <a:lnTo>
                  <a:pt x="2178885" y="1833608"/>
                </a:lnTo>
                <a:lnTo>
                  <a:pt x="2234022" y="1833608"/>
                </a:lnTo>
                <a:lnTo>
                  <a:pt x="2234022" y="1968545"/>
                </a:lnTo>
                <a:lnTo>
                  <a:pt x="2259999" y="1968545"/>
                </a:lnTo>
                <a:lnTo>
                  <a:pt x="2259999" y="2233658"/>
                </a:lnTo>
                <a:lnTo>
                  <a:pt x="2345764" y="2233658"/>
                </a:lnTo>
                <a:lnTo>
                  <a:pt x="2345764" y="2544808"/>
                </a:lnTo>
                <a:lnTo>
                  <a:pt x="2405725" y="2544808"/>
                </a:lnTo>
                <a:lnTo>
                  <a:pt x="2405725" y="3703690"/>
                </a:lnTo>
                <a:lnTo>
                  <a:pt x="2408302" y="3703690"/>
                </a:lnTo>
                <a:lnTo>
                  <a:pt x="2408304" y="3703690"/>
                </a:lnTo>
                <a:lnTo>
                  <a:pt x="2411417" y="3703690"/>
                </a:lnTo>
                <a:lnTo>
                  <a:pt x="2433205" y="3703690"/>
                </a:lnTo>
                <a:lnTo>
                  <a:pt x="2433245" y="3703690"/>
                </a:lnTo>
                <a:lnTo>
                  <a:pt x="2433245" y="3644953"/>
                </a:lnTo>
                <a:lnTo>
                  <a:pt x="2412185" y="3644953"/>
                </a:lnTo>
                <a:lnTo>
                  <a:pt x="2412184" y="3644953"/>
                </a:lnTo>
                <a:lnTo>
                  <a:pt x="2412184" y="3592565"/>
                </a:lnTo>
                <a:lnTo>
                  <a:pt x="2412185" y="3592565"/>
                </a:lnTo>
                <a:lnTo>
                  <a:pt x="2433245" y="3592565"/>
                </a:lnTo>
                <a:lnTo>
                  <a:pt x="2433245" y="3532240"/>
                </a:lnTo>
                <a:lnTo>
                  <a:pt x="2433247" y="3532240"/>
                </a:lnTo>
                <a:lnTo>
                  <a:pt x="2496433" y="3532240"/>
                </a:lnTo>
                <a:lnTo>
                  <a:pt x="2496433" y="3532239"/>
                </a:lnTo>
                <a:lnTo>
                  <a:pt x="2496433" y="2916288"/>
                </a:lnTo>
                <a:lnTo>
                  <a:pt x="2496582" y="2916123"/>
                </a:lnTo>
                <a:lnTo>
                  <a:pt x="2551787" y="2854973"/>
                </a:lnTo>
                <a:lnTo>
                  <a:pt x="2551787" y="2800850"/>
                </a:lnTo>
                <a:cubicBezTo>
                  <a:pt x="2551787" y="2719384"/>
                  <a:pt x="2551787" y="2656877"/>
                  <a:pt x="2551787" y="2632571"/>
                </a:cubicBezTo>
                <a:lnTo>
                  <a:pt x="2548840" y="2566607"/>
                </a:lnTo>
                <a:lnTo>
                  <a:pt x="2539796" y="2517413"/>
                </a:lnTo>
                <a:cubicBezTo>
                  <a:pt x="2531642" y="2488023"/>
                  <a:pt x="2519215" y="2463595"/>
                  <a:pt x="2502127" y="2431534"/>
                </a:cubicBezTo>
                <a:cubicBezTo>
                  <a:pt x="2467953" y="2364359"/>
                  <a:pt x="2446207" y="2303290"/>
                  <a:pt x="2446207" y="2303290"/>
                </a:cubicBezTo>
                <a:cubicBezTo>
                  <a:pt x="2446207" y="2303290"/>
                  <a:pt x="2446207" y="2303290"/>
                  <a:pt x="2446207" y="2300236"/>
                </a:cubicBezTo>
                <a:cubicBezTo>
                  <a:pt x="2446207" y="2300236"/>
                  <a:pt x="2446207" y="2297183"/>
                  <a:pt x="2446207" y="2297183"/>
                </a:cubicBezTo>
                <a:lnTo>
                  <a:pt x="2452206" y="2263977"/>
                </a:lnTo>
                <a:lnTo>
                  <a:pt x="2452528" y="2261877"/>
                </a:lnTo>
                <a:lnTo>
                  <a:pt x="2452632" y="2261627"/>
                </a:lnTo>
                <a:lnTo>
                  <a:pt x="2453585" y="2256343"/>
                </a:lnTo>
                <a:lnTo>
                  <a:pt x="2461432" y="2240297"/>
                </a:lnTo>
                <a:lnTo>
                  <a:pt x="2465327" y="2230857"/>
                </a:lnTo>
                <a:lnTo>
                  <a:pt x="2467128" y="2228504"/>
                </a:lnTo>
                <a:lnTo>
                  <a:pt x="2465855" y="2220479"/>
                </a:lnTo>
                <a:cubicBezTo>
                  <a:pt x="2458487" y="2169365"/>
                  <a:pt x="2450095" y="2090439"/>
                  <a:pt x="2449634" y="1994037"/>
                </a:cubicBezTo>
                <a:lnTo>
                  <a:pt x="2451718" y="1909727"/>
                </a:lnTo>
                <a:lnTo>
                  <a:pt x="2436271" y="1903696"/>
                </a:lnTo>
                <a:cubicBezTo>
                  <a:pt x="2432354" y="1899874"/>
                  <a:pt x="2430006" y="1894524"/>
                  <a:pt x="2430006" y="1888409"/>
                </a:cubicBezTo>
                <a:cubicBezTo>
                  <a:pt x="2430006" y="1888409"/>
                  <a:pt x="2430006" y="1888409"/>
                  <a:pt x="2430006" y="1851720"/>
                </a:cubicBezTo>
                <a:lnTo>
                  <a:pt x="2430031" y="1851662"/>
                </a:lnTo>
                <a:lnTo>
                  <a:pt x="2436662" y="1834905"/>
                </a:lnTo>
                <a:lnTo>
                  <a:pt x="2451158" y="1828883"/>
                </a:lnTo>
                <a:lnTo>
                  <a:pt x="2449312" y="1779636"/>
                </a:lnTo>
                <a:lnTo>
                  <a:pt x="2402465" y="1779636"/>
                </a:lnTo>
                <a:lnTo>
                  <a:pt x="2402465" y="1720898"/>
                </a:lnTo>
                <a:lnTo>
                  <a:pt x="2447101" y="1720898"/>
                </a:lnTo>
                <a:lnTo>
                  <a:pt x="2446208" y="1697089"/>
                </a:lnTo>
                <a:lnTo>
                  <a:pt x="2446207" y="1697086"/>
                </a:lnTo>
                <a:lnTo>
                  <a:pt x="2445846" y="1697086"/>
                </a:lnTo>
                <a:lnTo>
                  <a:pt x="2445398" y="1697086"/>
                </a:lnTo>
                <a:cubicBezTo>
                  <a:pt x="2445398" y="1697086"/>
                  <a:pt x="2439931" y="1690948"/>
                  <a:pt x="2437195" y="1680973"/>
                </a:cubicBezTo>
                <a:lnTo>
                  <a:pt x="2436537" y="1669670"/>
                </a:lnTo>
                <a:lnTo>
                  <a:pt x="2436488" y="1669463"/>
                </a:lnTo>
                <a:lnTo>
                  <a:pt x="2436519" y="1669370"/>
                </a:lnTo>
                <a:lnTo>
                  <a:pt x="2436172" y="1663421"/>
                </a:lnTo>
                <a:cubicBezTo>
                  <a:pt x="2437195" y="1656803"/>
                  <a:pt x="2439931" y="1649514"/>
                  <a:pt x="2445398" y="1641841"/>
                </a:cubicBezTo>
                <a:lnTo>
                  <a:pt x="2475142" y="1602512"/>
                </a:lnTo>
                <a:lnTo>
                  <a:pt x="2476276" y="1599055"/>
                </a:lnTo>
                <a:lnTo>
                  <a:pt x="2482893" y="1558973"/>
                </a:lnTo>
                <a:lnTo>
                  <a:pt x="2483674" y="1560103"/>
                </a:lnTo>
                <a:lnTo>
                  <a:pt x="2483291" y="1558973"/>
                </a:lnTo>
                <a:cubicBezTo>
                  <a:pt x="2483291" y="1558973"/>
                  <a:pt x="2520735" y="1605011"/>
                  <a:pt x="2520735" y="1647979"/>
                </a:cubicBezTo>
                <a:cubicBezTo>
                  <a:pt x="2520735" y="1657187"/>
                  <a:pt x="2519177" y="1666394"/>
                  <a:pt x="2515275" y="1674834"/>
                </a:cubicBezTo>
                <a:lnTo>
                  <a:pt x="2512393" y="1678124"/>
                </a:lnTo>
                <a:lnTo>
                  <a:pt x="2511900" y="1679696"/>
                </a:lnTo>
                <a:lnTo>
                  <a:pt x="2500361" y="1691850"/>
                </a:lnTo>
                <a:lnTo>
                  <a:pt x="2495772" y="1697086"/>
                </a:lnTo>
                <a:lnTo>
                  <a:pt x="2496433" y="1697086"/>
                </a:lnTo>
                <a:lnTo>
                  <a:pt x="2495537" y="1720898"/>
                </a:lnTo>
                <a:lnTo>
                  <a:pt x="2538555" y="1720898"/>
                </a:lnTo>
                <a:lnTo>
                  <a:pt x="2538557" y="1720898"/>
                </a:lnTo>
                <a:lnTo>
                  <a:pt x="2538557" y="1779636"/>
                </a:lnTo>
                <a:lnTo>
                  <a:pt x="2538555" y="1779636"/>
                </a:lnTo>
                <a:lnTo>
                  <a:pt x="2493330" y="1779636"/>
                </a:lnTo>
                <a:lnTo>
                  <a:pt x="2491064" y="1839961"/>
                </a:lnTo>
                <a:lnTo>
                  <a:pt x="2492381" y="1839961"/>
                </a:lnTo>
                <a:cubicBezTo>
                  <a:pt x="2498322" y="1839961"/>
                  <a:pt x="2501294" y="1842960"/>
                  <a:pt x="2501294" y="1848957"/>
                </a:cubicBezTo>
                <a:lnTo>
                  <a:pt x="2501294" y="1852661"/>
                </a:lnTo>
                <a:lnTo>
                  <a:pt x="2501833" y="1852661"/>
                </a:lnTo>
                <a:lnTo>
                  <a:pt x="2501833" y="1857548"/>
                </a:lnTo>
                <a:lnTo>
                  <a:pt x="2501959" y="1857424"/>
                </a:lnTo>
                <a:cubicBezTo>
                  <a:pt x="2501959" y="1869625"/>
                  <a:pt x="2501959" y="1894027"/>
                  <a:pt x="2501959" y="1900128"/>
                </a:cubicBezTo>
                <a:lnTo>
                  <a:pt x="2501833" y="1900321"/>
                </a:lnTo>
                <a:lnTo>
                  <a:pt x="2501833" y="1901315"/>
                </a:lnTo>
                <a:cubicBezTo>
                  <a:pt x="2501833" y="1904355"/>
                  <a:pt x="2498729" y="1907396"/>
                  <a:pt x="2495623" y="1910817"/>
                </a:cubicBezTo>
                <a:lnTo>
                  <a:pt x="2489608" y="1922226"/>
                </a:lnTo>
                <a:lnTo>
                  <a:pt x="2490054" y="1930703"/>
                </a:lnTo>
                <a:lnTo>
                  <a:pt x="2494440" y="1986107"/>
                </a:lnTo>
                <a:lnTo>
                  <a:pt x="2500141" y="2023322"/>
                </a:lnTo>
                <a:lnTo>
                  <a:pt x="2508793" y="2060558"/>
                </a:lnTo>
                <a:lnTo>
                  <a:pt x="2518318" y="2098634"/>
                </a:lnTo>
                <a:cubicBezTo>
                  <a:pt x="2525578" y="2123179"/>
                  <a:pt x="2534481" y="2149487"/>
                  <a:pt x="2545321" y="2177702"/>
                </a:cubicBezTo>
                <a:lnTo>
                  <a:pt x="2545659" y="2178866"/>
                </a:lnTo>
                <a:lnTo>
                  <a:pt x="2545838" y="2178843"/>
                </a:lnTo>
                <a:lnTo>
                  <a:pt x="2545621" y="2178099"/>
                </a:lnTo>
                <a:lnTo>
                  <a:pt x="2551787" y="2178099"/>
                </a:lnTo>
                <a:lnTo>
                  <a:pt x="2551835" y="2178099"/>
                </a:lnTo>
                <a:cubicBezTo>
                  <a:pt x="2551835" y="2178099"/>
                  <a:pt x="2554940" y="2178099"/>
                  <a:pt x="2554940" y="2178099"/>
                </a:cubicBezTo>
                <a:lnTo>
                  <a:pt x="2559630" y="2191926"/>
                </a:lnTo>
                <a:lnTo>
                  <a:pt x="2562207" y="2196470"/>
                </a:lnTo>
                <a:lnTo>
                  <a:pt x="2565540" y="2196182"/>
                </a:lnTo>
                <a:cubicBezTo>
                  <a:pt x="2567690" y="2195996"/>
                  <a:pt x="2570915" y="2195717"/>
                  <a:pt x="2575757" y="2195298"/>
                </a:cubicBezTo>
                <a:lnTo>
                  <a:pt x="2588432" y="2194201"/>
                </a:lnTo>
                <a:lnTo>
                  <a:pt x="2645482" y="2187624"/>
                </a:lnTo>
                <a:lnTo>
                  <a:pt x="2645482" y="2187237"/>
                </a:lnTo>
                <a:lnTo>
                  <a:pt x="2646492" y="2187237"/>
                </a:lnTo>
                <a:lnTo>
                  <a:pt x="2650822" y="2171884"/>
                </a:lnTo>
                <a:lnTo>
                  <a:pt x="2651353" y="2168254"/>
                </a:lnTo>
                <a:lnTo>
                  <a:pt x="2554786" y="2117788"/>
                </a:lnTo>
                <a:lnTo>
                  <a:pt x="2554757" y="2117774"/>
                </a:lnTo>
                <a:lnTo>
                  <a:pt x="2554761" y="2117775"/>
                </a:lnTo>
                <a:lnTo>
                  <a:pt x="2554759" y="2117774"/>
                </a:lnTo>
                <a:lnTo>
                  <a:pt x="2664611" y="2147603"/>
                </a:lnTo>
                <a:lnTo>
                  <a:pt x="2671887" y="2142865"/>
                </a:lnTo>
                <a:lnTo>
                  <a:pt x="2675375" y="2139162"/>
                </a:lnTo>
                <a:lnTo>
                  <a:pt x="2682527" y="2135713"/>
                </a:lnTo>
                <a:lnTo>
                  <a:pt x="2605626" y="2056524"/>
                </a:lnTo>
                <a:lnTo>
                  <a:pt x="2604981" y="2055862"/>
                </a:lnTo>
                <a:lnTo>
                  <a:pt x="2604986" y="2055865"/>
                </a:lnTo>
                <a:lnTo>
                  <a:pt x="2604983" y="2055862"/>
                </a:lnTo>
                <a:lnTo>
                  <a:pt x="2605280" y="2056059"/>
                </a:lnTo>
                <a:lnTo>
                  <a:pt x="2606576" y="2056911"/>
                </a:lnTo>
                <a:cubicBezTo>
                  <a:pt x="2611360" y="2060060"/>
                  <a:pt x="2630498" y="2072653"/>
                  <a:pt x="2707043" y="2123025"/>
                </a:cubicBezTo>
                <a:lnTo>
                  <a:pt x="2706653" y="2123217"/>
                </a:lnTo>
                <a:lnTo>
                  <a:pt x="2707402" y="2123713"/>
                </a:lnTo>
                <a:lnTo>
                  <a:pt x="2707816" y="2123512"/>
                </a:lnTo>
                <a:lnTo>
                  <a:pt x="2710536" y="2123120"/>
                </a:lnTo>
                <a:lnTo>
                  <a:pt x="2735173" y="2117774"/>
                </a:lnTo>
                <a:lnTo>
                  <a:pt x="2734586" y="2117774"/>
                </a:lnTo>
                <a:cubicBezTo>
                  <a:pt x="2734586" y="2117774"/>
                  <a:pt x="2734586" y="2117774"/>
                  <a:pt x="2747547" y="1992361"/>
                </a:cubicBezTo>
                <a:lnTo>
                  <a:pt x="2763057" y="2120014"/>
                </a:lnTo>
                <a:lnTo>
                  <a:pt x="2787277" y="2123512"/>
                </a:lnTo>
                <a:lnTo>
                  <a:pt x="2789568" y="2124617"/>
                </a:lnTo>
                <a:lnTo>
                  <a:pt x="2893362" y="2055862"/>
                </a:lnTo>
                <a:lnTo>
                  <a:pt x="2814777" y="2136777"/>
                </a:lnTo>
                <a:lnTo>
                  <a:pt x="2819722" y="2139162"/>
                </a:lnTo>
                <a:lnTo>
                  <a:pt x="2828908" y="2148911"/>
                </a:lnTo>
                <a:lnTo>
                  <a:pt x="2943581" y="2117774"/>
                </a:lnTo>
                <a:lnTo>
                  <a:pt x="2843735" y="2169955"/>
                </a:lnTo>
                <a:lnTo>
                  <a:pt x="2848583" y="2187131"/>
                </a:lnTo>
                <a:lnTo>
                  <a:pt x="2963021" y="2200324"/>
                </a:lnTo>
                <a:lnTo>
                  <a:pt x="2847368" y="2209657"/>
                </a:lnTo>
                <a:lnTo>
                  <a:pt x="2862495" y="2392463"/>
                </a:lnTo>
                <a:lnTo>
                  <a:pt x="2872400" y="2393569"/>
                </a:lnTo>
                <a:cubicBezTo>
                  <a:pt x="2883024" y="2395183"/>
                  <a:pt x="2892197" y="2397328"/>
                  <a:pt x="2899571" y="2400759"/>
                </a:cubicBezTo>
                <a:cubicBezTo>
                  <a:pt x="2939937" y="2419060"/>
                  <a:pt x="2930620" y="2498364"/>
                  <a:pt x="2936831" y="2544116"/>
                </a:cubicBezTo>
                <a:cubicBezTo>
                  <a:pt x="2936831" y="2550217"/>
                  <a:pt x="3005140" y="2589868"/>
                  <a:pt x="3005140" y="2589868"/>
                </a:cubicBezTo>
                <a:cubicBezTo>
                  <a:pt x="3005140" y="2589868"/>
                  <a:pt x="3005140" y="2589868"/>
                  <a:pt x="2946144" y="2647821"/>
                </a:cubicBezTo>
                <a:cubicBezTo>
                  <a:pt x="2946144" y="2647821"/>
                  <a:pt x="2946144" y="2647821"/>
                  <a:pt x="2946144" y="3137771"/>
                </a:cubicBezTo>
                <a:lnTo>
                  <a:pt x="2946144" y="3144925"/>
                </a:lnTo>
                <a:lnTo>
                  <a:pt x="2997042" y="3184576"/>
                </a:lnTo>
                <a:lnTo>
                  <a:pt x="2997042" y="3532239"/>
                </a:lnTo>
                <a:lnTo>
                  <a:pt x="2946144" y="3532239"/>
                </a:lnTo>
                <a:lnTo>
                  <a:pt x="2946144" y="3532240"/>
                </a:lnTo>
                <a:lnTo>
                  <a:pt x="3055361" y="3532240"/>
                </a:lnTo>
                <a:lnTo>
                  <a:pt x="3055361" y="3592565"/>
                </a:lnTo>
                <a:lnTo>
                  <a:pt x="3065098" y="3592565"/>
                </a:lnTo>
                <a:lnTo>
                  <a:pt x="3065098" y="3587748"/>
                </a:lnTo>
                <a:cubicBezTo>
                  <a:pt x="3065098" y="3570793"/>
                  <a:pt x="3065098" y="3502971"/>
                  <a:pt x="3065098" y="3231684"/>
                </a:cubicBezTo>
                <a:lnTo>
                  <a:pt x="3065098" y="3154414"/>
                </a:lnTo>
                <a:lnTo>
                  <a:pt x="3065066" y="3154414"/>
                </a:lnTo>
                <a:cubicBezTo>
                  <a:pt x="3065066" y="3154414"/>
                  <a:pt x="3065066" y="3154414"/>
                  <a:pt x="3065066" y="3108531"/>
                </a:cubicBezTo>
                <a:lnTo>
                  <a:pt x="3065098" y="3108531"/>
                </a:lnTo>
                <a:lnTo>
                  <a:pt x="3065098" y="3108528"/>
                </a:lnTo>
                <a:lnTo>
                  <a:pt x="3065098" y="3105391"/>
                </a:lnTo>
                <a:cubicBezTo>
                  <a:pt x="3065098" y="3103676"/>
                  <a:pt x="3065098" y="3101104"/>
                  <a:pt x="3065098" y="3097246"/>
                </a:cubicBezTo>
                <a:lnTo>
                  <a:pt x="3065098" y="3081388"/>
                </a:lnTo>
                <a:lnTo>
                  <a:pt x="3065066" y="3081388"/>
                </a:lnTo>
                <a:cubicBezTo>
                  <a:pt x="3065066" y="3081388"/>
                  <a:pt x="3065066" y="3081388"/>
                  <a:pt x="3065066" y="3035574"/>
                </a:cubicBezTo>
                <a:lnTo>
                  <a:pt x="3065098" y="3035574"/>
                </a:lnTo>
                <a:lnTo>
                  <a:pt x="3065098" y="3035572"/>
                </a:lnTo>
                <a:cubicBezTo>
                  <a:pt x="3065098" y="3035572"/>
                  <a:pt x="3065098" y="3035572"/>
                  <a:pt x="3177531" y="3035572"/>
                </a:cubicBezTo>
                <a:lnTo>
                  <a:pt x="3232896" y="3035572"/>
                </a:lnTo>
                <a:lnTo>
                  <a:pt x="3236004" y="3020303"/>
                </a:lnTo>
                <a:lnTo>
                  <a:pt x="3252598" y="2975501"/>
                </a:lnTo>
                <a:lnTo>
                  <a:pt x="3263525" y="2942132"/>
                </a:lnTo>
                <a:lnTo>
                  <a:pt x="3266370" y="2938321"/>
                </a:lnTo>
                <a:lnTo>
                  <a:pt x="3268299" y="2933115"/>
                </a:lnTo>
                <a:lnTo>
                  <a:pt x="3296802" y="2897562"/>
                </a:lnTo>
                <a:lnTo>
                  <a:pt x="3319180" y="2867590"/>
                </a:lnTo>
                <a:lnTo>
                  <a:pt x="3323712" y="2863997"/>
                </a:lnTo>
                <a:lnTo>
                  <a:pt x="3324197" y="2863393"/>
                </a:lnTo>
                <a:lnTo>
                  <a:pt x="3325509" y="2862572"/>
                </a:lnTo>
                <a:lnTo>
                  <a:pt x="3354767" y="2839375"/>
                </a:lnTo>
                <a:cubicBezTo>
                  <a:pt x="3367381" y="2831107"/>
                  <a:pt x="3380712" y="2824020"/>
                  <a:pt x="3394651" y="2818246"/>
                </a:cubicBezTo>
                <a:lnTo>
                  <a:pt x="3398079" y="2817202"/>
                </a:lnTo>
                <a:lnTo>
                  <a:pt x="3398161" y="2817150"/>
                </a:lnTo>
                <a:lnTo>
                  <a:pt x="3401255" y="2816234"/>
                </a:lnTo>
                <a:lnTo>
                  <a:pt x="3438177" y="2804991"/>
                </a:lnTo>
                <a:lnTo>
                  <a:pt x="3439784" y="2804832"/>
                </a:lnTo>
                <a:lnTo>
                  <a:pt x="3440188" y="2804713"/>
                </a:lnTo>
                <a:cubicBezTo>
                  <a:pt x="3454642" y="2801879"/>
                  <a:pt x="3469504" y="2800400"/>
                  <a:pt x="3484655" y="2800400"/>
                </a:cubicBezTo>
                <a:lnTo>
                  <a:pt x="3484655" y="2800401"/>
                </a:lnTo>
                <a:lnTo>
                  <a:pt x="3484691" y="2800398"/>
                </a:lnTo>
                <a:cubicBezTo>
                  <a:pt x="3609018" y="2800398"/>
                  <a:pt x="3714696" y="2901187"/>
                  <a:pt x="3733345" y="3035572"/>
                </a:cubicBezTo>
                <a:cubicBezTo>
                  <a:pt x="3733345" y="3035572"/>
                  <a:pt x="3733345" y="3035572"/>
                  <a:pt x="3847868" y="3035572"/>
                </a:cubicBezTo>
                <a:lnTo>
                  <a:pt x="3883174" y="3035572"/>
                </a:lnTo>
                <a:lnTo>
                  <a:pt x="3883174" y="2983115"/>
                </a:lnTo>
                <a:lnTo>
                  <a:pt x="3883174" y="2968827"/>
                </a:lnTo>
                <a:lnTo>
                  <a:pt x="3883174" y="2897387"/>
                </a:lnTo>
                <a:lnTo>
                  <a:pt x="3883174" y="2883099"/>
                </a:lnTo>
                <a:lnTo>
                  <a:pt x="3883174" y="2813247"/>
                </a:lnTo>
                <a:lnTo>
                  <a:pt x="3883174" y="2797371"/>
                </a:lnTo>
                <a:lnTo>
                  <a:pt x="3883174" y="2727519"/>
                </a:lnTo>
                <a:lnTo>
                  <a:pt x="3883174" y="2711643"/>
                </a:lnTo>
                <a:lnTo>
                  <a:pt x="3883174" y="2641791"/>
                </a:lnTo>
                <a:lnTo>
                  <a:pt x="3883174" y="2625915"/>
                </a:lnTo>
                <a:lnTo>
                  <a:pt x="3883174" y="2556063"/>
                </a:lnTo>
                <a:lnTo>
                  <a:pt x="3883174" y="2541775"/>
                </a:lnTo>
                <a:lnTo>
                  <a:pt x="3883196" y="2541775"/>
                </a:lnTo>
                <a:lnTo>
                  <a:pt x="3883196" y="2541774"/>
                </a:lnTo>
                <a:lnTo>
                  <a:pt x="3883174" y="2541774"/>
                </a:lnTo>
                <a:lnTo>
                  <a:pt x="3883174" y="2471922"/>
                </a:lnTo>
                <a:lnTo>
                  <a:pt x="3883174" y="2456046"/>
                </a:lnTo>
                <a:lnTo>
                  <a:pt x="3883174" y="2386194"/>
                </a:lnTo>
                <a:lnTo>
                  <a:pt x="3883174" y="2370318"/>
                </a:lnTo>
                <a:lnTo>
                  <a:pt x="3883174" y="2300466"/>
                </a:lnTo>
                <a:lnTo>
                  <a:pt x="3883174" y="2284590"/>
                </a:lnTo>
                <a:lnTo>
                  <a:pt x="3883174" y="2214738"/>
                </a:lnTo>
                <a:lnTo>
                  <a:pt x="3883174" y="2200450"/>
                </a:lnTo>
                <a:lnTo>
                  <a:pt x="3883174" y="2129010"/>
                </a:lnTo>
                <a:lnTo>
                  <a:pt x="3883174" y="2114722"/>
                </a:lnTo>
                <a:lnTo>
                  <a:pt x="3883196" y="2114722"/>
                </a:lnTo>
                <a:lnTo>
                  <a:pt x="3883196" y="2114721"/>
                </a:lnTo>
                <a:lnTo>
                  <a:pt x="3883174" y="2114721"/>
                </a:lnTo>
                <a:lnTo>
                  <a:pt x="3883174" y="2044870"/>
                </a:lnTo>
                <a:lnTo>
                  <a:pt x="3883174" y="2044869"/>
                </a:lnTo>
                <a:lnTo>
                  <a:pt x="3883174" y="2028994"/>
                </a:lnTo>
                <a:lnTo>
                  <a:pt x="3883196" y="2028994"/>
                </a:lnTo>
                <a:lnTo>
                  <a:pt x="3883196" y="2028993"/>
                </a:lnTo>
                <a:lnTo>
                  <a:pt x="3883174" y="2028993"/>
                </a:lnTo>
                <a:lnTo>
                  <a:pt x="3883174" y="1959142"/>
                </a:lnTo>
                <a:lnTo>
                  <a:pt x="3883174" y="1959141"/>
                </a:lnTo>
                <a:lnTo>
                  <a:pt x="3883174" y="1943266"/>
                </a:lnTo>
                <a:lnTo>
                  <a:pt x="3883174" y="1873414"/>
                </a:lnTo>
                <a:lnTo>
                  <a:pt x="3883174" y="1873413"/>
                </a:lnTo>
                <a:lnTo>
                  <a:pt x="3883174" y="1857538"/>
                </a:lnTo>
                <a:lnTo>
                  <a:pt x="3883174" y="1787685"/>
                </a:lnTo>
                <a:lnTo>
                  <a:pt x="3883174" y="1773397"/>
                </a:lnTo>
                <a:lnTo>
                  <a:pt x="3883174" y="1703545"/>
                </a:lnTo>
                <a:lnTo>
                  <a:pt x="3883174" y="1687669"/>
                </a:lnTo>
                <a:lnTo>
                  <a:pt x="3883174" y="1617817"/>
                </a:lnTo>
                <a:lnTo>
                  <a:pt x="3883174" y="1601941"/>
                </a:lnTo>
                <a:lnTo>
                  <a:pt x="3883174" y="1532089"/>
                </a:lnTo>
                <a:lnTo>
                  <a:pt x="3883174" y="1532088"/>
                </a:lnTo>
                <a:lnTo>
                  <a:pt x="3883174" y="1516213"/>
                </a:lnTo>
                <a:lnTo>
                  <a:pt x="3883174" y="1446361"/>
                </a:lnTo>
                <a:lnTo>
                  <a:pt x="3883174" y="1446360"/>
                </a:lnTo>
                <a:lnTo>
                  <a:pt x="3883174" y="1432073"/>
                </a:lnTo>
                <a:lnTo>
                  <a:pt x="3883196" y="1432073"/>
                </a:lnTo>
                <a:lnTo>
                  <a:pt x="3883196" y="1432072"/>
                </a:lnTo>
                <a:lnTo>
                  <a:pt x="3883174" y="1432072"/>
                </a:lnTo>
                <a:lnTo>
                  <a:pt x="3883174" y="1376508"/>
                </a:lnTo>
                <a:lnTo>
                  <a:pt x="3883174" y="1349520"/>
                </a:lnTo>
                <a:lnTo>
                  <a:pt x="3883196" y="1349520"/>
                </a:lnTo>
                <a:lnTo>
                  <a:pt x="3883196" y="1349421"/>
                </a:lnTo>
                <a:lnTo>
                  <a:pt x="3951218" y="1349421"/>
                </a:lnTo>
                <a:lnTo>
                  <a:pt x="3951218" y="1257441"/>
                </a:lnTo>
                <a:lnTo>
                  <a:pt x="3951218" y="1230453"/>
                </a:lnTo>
                <a:lnTo>
                  <a:pt x="3951239" y="1230453"/>
                </a:lnTo>
                <a:lnTo>
                  <a:pt x="3951239" y="1230359"/>
                </a:lnTo>
                <a:lnTo>
                  <a:pt x="4007942" y="1230359"/>
                </a:lnTo>
                <a:lnTo>
                  <a:pt x="4010692" y="1226414"/>
                </a:lnTo>
                <a:lnTo>
                  <a:pt x="4137527" y="1041534"/>
                </a:lnTo>
                <a:lnTo>
                  <a:pt x="4139543" y="1041534"/>
                </a:lnTo>
                <a:lnTo>
                  <a:pt x="4139543" y="1041533"/>
                </a:lnTo>
                <a:lnTo>
                  <a:pt x="4137527" y="1041533"/>
                </a:lnTo>
                <a:lnTo>
                  <a:pt x="4095405" y="1041533"/>
                </a:lnTo>
                <a:lnTo>
                  <a:pt x="4095405" y="992319"/>
                </a:lnTo>
                <a:lnTo>
                  <a:pt x="4095426" y="992319"/>
                </a:lnTo>
                <a:lnTo>
                  <a:pt x="4095426" y="992233"/>
                </a:lnTo>
                <a:lnTo>
                  <a:pt x="4178028" y="992233"/>
                </a:lnTo>
                <a:lnTo>
                  <a:pt x="4178028" y="990454"/>
                </a:lnTo>
                <a:cubicBezTo>
                  <a:pt x="4178028" y="984163"/>
                  <a:pt x="4178028" y="959000"/>
                  <a:pt x="4178028" y="858349"/>
                </a:cubicBezTo>
                <a:lnTo>
                  <a:pt x="4178051" y="858349"/>
                </a:lnTo>
                <a:lnTo>
                  <a:pt x="4178051" y="857377"/>
                </a:lnTo>
                <a:lnTo>
                  <a:pt x="4178029" y="857377"/>
                </a:lnTo>
                <a:lnTo>
                  <a:pt x="4153727" y="857377"/>
                </a:lnTo>
                <a:lnTo>
                  <a:pt x="4153727" y="836739"/>
                </a:lnTo>
                <a:lnTo>
                  <a:pt x="4153749" y="836739"/>
                </a:lnTo>
                <a:lnTo>
                  <a:pt x="4153749" y="836658"/>
                </a:lnTo>
                <a:lnTo>
                  <a:pt x="4178028" y="836658"/>
                </a:lnTo>
                <a:lnTo>
                  <a:pt x="4178028" y="834616"/>
                </a:lnTo>
                <a:cubicBezTo>
                  <a:pt x="4178028" y="827467"/>
                  <a:pt x="4178028" y="798873"/>
                  <a:pt x="4178028" y="684497"/>
                </a:cubicBezTo>
                <a:lnTo>
                  <a:pt x="4178051" y="684497"/>
                </a:lnTo>
                <a:lnTo>
                  <a:pt x="4178051" y="684333"/>
                </a:lnTo>
                <a:lnTo>
                  <a:pt x="4178029" y="684333"/>
                </a:lnTo>
                <a:lnTo>
                  <a:pt x="4153727" y="684333"/>
                </a:lnTo>
                <a:lnTo>
                  <a:pt x="4153727" y="663695"/>
                </a:lnTo>
                <a:lnTo>
                  <a:pt x="4153749" y="663695"/>
                </a:lnTo>
                <a:lnTo>
                  <a:pt x="4153749" y="663620"/>
                </a:lnTo>
                <a:lnTo>
                  <a:pt x="4178051" y="663620"/>
                </a:lnTo>
                <a:lnTo>
                  <a:pt x="4178051" y="663147"/>
                </a:lnTo>
                <a:lnTo>
                  <a:pt x="4178028" y="663147"/>
                </a:lnTo>
                <a:cubicBezTo>
                  <a:pt x="4178028" y="663147"/>
                  <a:pt x="4178028" y="663147"/>
                  <a:pt x="4178028" y="560982"/>
                </a:cubicBezTo>
                <a:lnTo>
                  <a:pt x="4178028" y="511290"/>
                </a:lnTo>
                <a:lnTo>
                  <a:pt x="4153727" y="511290"/>
                </a:lnTo>
                <a:lnTo>
                  <a:pt x="4153727" y="489064"/>
                </a:lnTo>
                <a:lnTo>
                  <a:pt x="4153749" y="489064"/>
                </a:lnTo>
                <a:lnTo>
                  <a:pt x="4153749" y="488994"/>
                </a:lnTo>
                <a:lnTo>
                  <a:pt x="4178028" y="488994"/>
                </a:lnTo>
                <a:lnTo>
                  <a:pt x="4178028" y="486864"/>
                </a:lnTo>
                <a:cubicBezTo>
                  <a:pt x="4178028" y="479573"/>
                  <a:pt x="4178028" y="450407"/>
                  <a:pt x="4178028" y="333743"/>
                </a:cubicBezTo>
                <a:lnTo>
                  <a:pt x="4178051" y="333743"/>
                </a:lnTo>
                <a:lnTo>
                  <a:pt x="4178051" y="333483"/>
                </a:lnTo>
                <a:lnTo>
                  <a:pt x="4178029" y="333483"/>
                </a:lnTo>
                <a:lnTo>
                  <a:pt x="4153727" y="333483"/>
                </a:lnTo>
                <a:lnTo>
                  <a:pt x="4153727" y="316020"/>
                </a:lnTo>
                <a:lnTo>
                  <a:pt x="4153749" y="316020"/>
                </a:lnTo>
                <a:lnTo>
                  <a:pt x="4153749" y="315956"/>
                </a:lnTo>
                <a:lnTo>
                  <a:pt x="4178051" y="315956"/>
                </a:lnTo>
                <a:lnTo>
                  <a:pt x="4178051" y="315443"/>
                </a:lnTo>
                <a:lnTo>
                  <a:pt x="4178028" y="315443"/>
                </a:lnTo>
                <a:cubicBezTo>
                  <a:pt x="4178028" y="315443"/>
                  <a:pt x="4178028" y="315443"/>
                  <a:pt x="4178028" y="233092"/>
                </a:cubicBezTo>
                <a:lnTo>
                  <a:pt x="4178051" y="233071"/>
                </a:lnTo>
                <a:lnTo>
                  <a:pt x="4178051" y="233031"/>
                </a:lnTo>
                <a:cubicBezTo>
                  <a:pt x="4178051" y="226931"/>
                  <a:pt x="4181291" y="223881"/>
                  <a:pt x="4187771" y="223881"/>
                </a:cubicBezTo>
                <a:close/>
                <a:moveTo>
                  <a:pt x="8553199" y="0"/>
                </a:moveTo>
                <a:lnTo>
                  <a:pt x="8580741" y="0"/>
                </a:lnTo>
                <a:lnTo>
                  <a:pt x="8580741" y="163512"/>
                </a:lnTo>
                <a:lnTo>
                  <a:pt x="8608282" y="163512"/>
                </a:lnTo>
                <a:lnTo>
                  <a:pt x="8608282" y="163513"/>
                </a:lnTo>
                <a:lnTo>
                  <a:pt x="8608282" y="290512"/>
                </a:lnTo>
                <a:lnTo>
                  <a:pt x="8608282" y="301625"/>
                </a:lnTo>
                <a:lnTo>
                  <a:pt x="8608282" y="427037"/>
                </a:lnTo>
                <a:lnTo>
                  <a:pt x="8634203" y="427037"/>
                </a:lnTo>
                <a:lnTo>
                  <a:pt x="8634203" y="549275"/>
                </a:lnTo>
                <a:lnTo>
                  <a:pt x="8634203" y="755650"/>
                </a:lnTo>
                <a:lnTo>
                  <a:pt x="8637443" y="755650"/>
                </a:lnTo>
                <a:lnTo>
                  <a:pt x="8655264" y="755650"/>
                </a:lnTo>
                <a:lnTo>
                  <a:pt x="8655265" y="755650"/>
                </a:lnTo>
                <a:lnTo>
                  <a:pt x="8655265" y="933450"/>
                </a:lnTo>
                <a:lnTo>
                  <a:pt x="8655265" y="1084262"/>
                </a:lnTo>
                <a:lnTo>
                  <a:pt x="8656884" y="1084262"/>
                </a:lnTo>
                <a:lnTo>
                  <a:pt x="8716827" y="1084262"/>
                </a:lnTo>
                <a:lnTo>
                  <a:pt x="8716827" y="1084263"/>
                </a:lnTo>
                <a:lnTo>
                  <a:pt x="8711967" y="1447800"/>
                </a:lnTo>
                <a:lnTo>
                  <a:pt x="8711967" y="1460500"/>
                </a:lnTo>
                <a:lnTo>
                  <a:pt x="8711967" y="1757362"/>
                </a:lnTo>
                <a:lnTo>
                  <a:pt x="8778390" y="1757362"/>
                </a:lnTo>
                <a:lnTo>
                  <a:pt x="8778390" y="2146891"/>
                </a:lnTo>
                <a:lnTo>
                  <a:pt x="8780899" y="2146891"/>
                </a:lnTo>
                <a:cubicBezTo>
                  <a:pt x="8790384" y="2146891"/>
                  <a:pt x="8828331" y="2146891"/>
                  <a:pt x="8980115" y="2146891"/>
                </a:cubicBezTo>
                <a:cubicBezTo>
                  <a:pt x="8980115" y="2146891"/>
                  <a:pt x="8980115" y="2146891"/>
                  <a:pt x="8980115" y="2586156"/>
                </a:cubicBezTo>
                <a:cubicBezTo>
                  <a:pt x="8980115" y="2586156"/>
                  <a:pt x="8980115" y="2586156"/>
                  <a:pt x="9033913" y="2586156"/>
                </a:cubicBezTo>
                <a:cubicBezTo>
                  <a:pt x="9033913" y="2586156"/>
                  <a:pt x="9033913" y="2586156"/>
                  <a:pt x="9033913" y="2960159"/>
                </a:cubicBezTo>
                <a:cubicBezTo>
                  <a:pt x="9033913" y="2960159"/>
                  <a:pt x="9033913" y="2960159"/>
                  <a:pt x="9005734" y="2960159"/>
                </a:cubicBezTo>
                <a:lnTo>
                  <a:pt x="9005734" y="2960611"/>
                </a:lnTo>
                <a:lnTo>
                  <a:pt x="9034385" y="2960611"/>
                </a:lnTo>
                <a:lnTo>
                  <a:pt x="9034385" y="1425611"/>
                </a:lnTo>
                <a:lnTo>
                  <a:pt x="9034496" y="1425611"/>
                </a:lnTo>
                <a:lnTo>
                  <a:pt x="9034496" y="1402557"/>
                </a:lnTo>
                <a:lnTo>
                  <a:pt x="9034385" y="1401799"/>
                </a:lnTo>
                <a:lnTo>
                  <a:pt x="9034496" y="1400931"/>
                </a:lnTo>
                <a:lnTo>
                  <a:pt x="9034496" y="1377994"/>
                </a:lnTo>
                <a:lnTo>
                  <a:pt x="9037436" y="1377994"/>
                </a:lnTo>
                <a:lnTo>
                  <a:pt x="9046280" y="1309006"/>
                </a:lnTo>
                <a:cubicBezTo>
                  <a:pt x="9069366" y="1222202"/>
                  <a:pt x="9123913" y="1156277"/>
                  <a:pt x="9190908" y="1137403"/>
                </a:cubicBezTo>
                <a:lnTo>
                  <a:pt x="9207733" y="1135068"/>
                </a:lnTo>
                <a:lnTo>
                  <a:pt x="9207733" y="893792"/>
                </a:lnTo>
                <a:lnTo>
                  <a:pt x="9251476" y="893792"/>
                </a:lnTo>
                <a:lnTo>
                  <a:pt x="9251476" y="1134843"/>
                </a:lnTo>
                <a:lnTo>
                  <a:pt x="9269921" y="1137403"/>
                </a:lnTo>
                <a:cubicBezTo>
                  <a:pt x="9336916" y="1156277"/>
                  <a:pt x="9391462" y="1222202"/>
                  <a:pt x="9414549" y="1309006"/>
                </a:cubicBezTo>
                <a:lnTo>
                  <a:pt x="9423392" y="1377994"/>
                </a:lnTo>
                <a:lnTo>
                  <a:pt x="9426562" y="1377994"/>
                </a:lnTo>
                <a:lnTo>
                  <a:pt x="9426562" y="1425620"/>
                </a:lnTo>
                <a:lnTo>
                  <a:pt x="9426444" y="1425620"/>
                </a:lnTo>
                <a:lnTo>
                  <a:pt x="9426444" y="2312557"/>
                </a:lnTo>
                <a:lnTo>
                  <a:pt x="9427505" y="2312557"/>
                </a:lnTo>
                <a:cubicBezTo>
                  <a:pt x="9432428" y="2312557"/>
                  <a:pt x="9452122" y="2312557"/>
                  <a:pt x="9530896" y="2312557"/>
                </a:cubicBezTo>
                <a:cubicBezTo>
                  <a:pt x="9530896" y="2312557"/>
                  <a:pt x="9530896" y="2312557"/>
                  <a:pt x="9530896" y="2960159"/>
                </a:cubicBezTo>
                <a:cubicBezTo>
                  <a:pt x="9530896" y="2960159"/>
                  <a:pt x="9530896" y="2960159"/>
                  <a:pt x="9486586" y="2960159"/>
                </a:cubicBezTo>
                <a:lnTo>
                  <a:pt x="9426444" y="2960159"/>
                </a:lnTo>
                <a:lnTo>
                  <a:pt x="9426444" y="2960611"/>
                </a:lnTo>
                <a:lnTo>
                  <a:pt x="9531754" y="2960611"/>
                </a:lnTo>
                <a:lnTo>
                  <a:pt x="9531754" y="2932037"/>
                </a:lnTo>
                <a:lnTo>
                  <a:pt x="9531754" y="2909812"/>
                </a:lnTo>
                <a:lnTo>
                  <a:pt x="9531754" y="2874887"/>
                </a:lnTo>
                <a:lnTo>
                  <a:pt x="9531754" y="2854250"/>
                </a:lnTo>
                <a:lnTo>
                  <a:pt x="9531754" y="2817738"/>
                </a:lnTo>
                <a:lnTo>
                  <a:pt x="9531754" y="2797101"/>
                </a:lnTo>
                <a:lnTo>
                  <a:pt x="9531754" y="2759002"/>
                </a:lnTo>
                <a:lnTo>
                  <a:pt x="9531754" y="2739952"/>
                </a:lnTo>
                <a:lnTo>
                  <a:pt x="9531754" y="2701853"/>
                </a:lnTo>
                <a:lnTo>
                  <a:pt x="9531754" y="2681216"/>
                </a:lnTo>
                <a:lnTo>
                  <a:pt x="9531754" y="2643117"/>
                </a:lnTo>
                <a:lnTo>
                  <a:pt x="9531754" y="2624067"/>
                </a:lnTo>
                <a:lnTo>
                  <a:pt x="9531754" y="2585967"/>
                </a:lnTo>
                <a:lnTo>
                  <a:pt x="9531754" y="2565330"/>
                </a:lnTo>
                <a:lnTo>
                  <a:pt x="9531754" y="2528818"/>
                </a:lnTo>
                <a:lnTo>
                  <a:pt x="9531754" y="2508181"/>
                </a:lnTo>
                <a:lnTo>
                  <a:pt x="9531754" y="2470082"/>
                </a:lnTo>
                <a:lnTo>
                  <a:pt x="9531754" y="2451032"/>
                </a:lnTo>
                <a:lnTo>
                  <a:pt x="9531754" y="2412933"/>
                </a:lnTo>
                <a:lnTo>
                  <a:pt x="9531754" y="2392296"/>
                </a:lnTo>
                <a:lnTo>
                  <a:pt x="9531754" y="2355784"/>
                </a:lnTo>
                <a:lnTo>
                  <a:pt x="9531754" y="2335147"/>
                </a:lnTo>
                <a:lnTo>
                  <a:pt x="9531754" y="2297047"/>
                </a:lnTo>
                <a:lnTo>
                  <a:pt x="9531754" y="2276410"/>
                </a:lnTo>
                <a:lnTo>
                  <a:pt x="9531754" y="2239898"/>
                </a:lnTo>
                <a:lnTo>
                  <a:pt x="9531754" y="2219261"/>
                </a:lnTo>
                <a:lnTo>
                  <a:pt x="9531754" y="2184337"/>
                </a:lnTo>
                <a:lnTo>
                  <a:pt x="9531754" y="2162112"/>
                </a:lnTo>
                <a:lnTo>
                  <a:pt x="9531754" y="2127188"/>
                </a:lnTo>
                <a:lnTo>
                  <a:pt x="9531754" y="2103376"/>
                </a:lnTo>
                <a:lnTo>
                  <a:pt x="9531754" y="2041464"/>
                </a:lnTo>
                <a:lnTo>
                  <a:pt x="9586837" y="2041464"/>
                </a:lnTo>
                <a:lnTo>
                  <a:pt x="9586837" y="2003544"/>
                </a:lnTo>
                <a:lnTo>
                  <a:pt x="9585197" y="2003544"/>
                </a:lnTo>
                <a:cubicBezTo>
                  <a:pt x="9585197" y="2003544"/>
                  <a:pt x="9585197" y="2003544"/>
                  <a:pt x="9554435" y="1965981"/>
                </a:cubicBezTo>
                <a:cubicBezTo>
                  <a:pt x="9554435" y="1965981"/>
                  <a:pt x="9654409" y="1895864"/>
                  <a:pt x="9659536" y="1838268"/>
                </a:cubicBezTo>
                <a:cubicBezTo>
                  <a:pt x="9676839" y="1838268"/>
                  <a:pt x="9711444" y="1838268"/>
                  <a:pt x="9735237" y="1838268"/>
                </a:cubicBezTo>
                <a:lnTo>
                  <a:pt x="9747225" y="1838268"/>
                </a:lnTo>
                <a:lnTo>
                  <a:pt x="9747225" y="1704920"/>
                </a:lnTo>
                <a:lnTo>
                  <a:pt x="9765046" y="1704920"/>
                </a:lnTo>
                <a:lnTo>
                  <a:pt x="9765046" y="1838268"/>
                </a:lnTo>
                <a:lnTo>
                  <a:pt x="9779736" y="1838268"/>
                </a:lnTo>
                <a:cubicBezTo>
                  <a:pt x="9803888" y="1838268"/>
                  <a:pt x="9837053" y="1838268"/>
                  <a:pt x="9854356" y="1838268"/>
                </a:cubicBezTo>
                <a:cubicBezTo>
                  <a:pt x="9859483" y="1895864"/>
                  <a:pt x="9959456" y="1965981"/>
                  <a:pt x="9959456" y="1965981"/>
                </a:cubicBezTo>
                <a:cubicBezTo>
                  <a:pt x="9959456" y="1965981"/>
                  <a:pt x="9959456" y="1965981"/>
                  <a:pt x="9928695" y="2003544"/>
                </a:cubicBezTo>
                <a:lnTo>
                  <a:pt x="9928674" y="2003544"/>
                </a:lnTo>
                <a:lnTo>
                  <a:pt x="9928674" y="2041464"/>
                </a:lnTo>
                <a:lnTo>
                  <a:pt x="10027499" y="2041464"/>
                </a:lnTo>
                <a:lnTo>
                  <a:pt x="10027499" y="2103376"/>
                </a:lnTo>
                <a:lnTo>
                  <a:pt x="10027499" y="2127188"/>
                </a:lnTo>
                <a:lnTo>
                  <a:pt x="10027499" y="2162112"/>
                </a:lnTo>
                <a:lnTo>
                  <a:pt x="10027499" y="2184337"/>
                </a:lnTo>
                <a:lnTo>
                  <a:pt x="10027499" y="2219261"/>
                </a:lnTo>
                <a:lnTo>
                  <a:pt x="10027499" y="2239898"/>
                </a:lnTo>
                <a:lnTo>
                  <a:pt x="10027499" y="2276410"/>
                </a:lnTo>
                <a:lnTo>
                  <a:pt x="10027499" y="2297047"/>
                </a:lnTo>
                <a:lnTo>
                  <a:pt x="10027499" y="2335147"/>
                </a:lnTo>
                <a:lnTo>
                  <a:pt x="10027499" y="2355784"/>
                </a:lnTo>
                <a:lnTo>
                  <a:pt x="10027499" y="2392296"/>
                </a:lnTo>
                <a:lnTo>
                  <a:pt x="10027499" y="2412933"/>
                </a:lnTo>
                <a:lnTo>
                  <a:pt x="10027499" y="2451032"/>
                </a:lnTo>
                <a:lnTo>
                  <a:pt x="10027499" y="2470082"/>
                </a:lnTo>
                <a:lnTo>
                  <a:pt x="10027499" y="2508181"/>
                </a:lnTo>
                <a:lnTo>
                  <a:pt x="10027499" y="2528818"/>
                </a:lnTo>
                <a:lnTo>
                  <a:pt x="10027499" y="2565330"/>
                </a:lnTo>
                <a:lnTo>
                  <a:pt x="10027499" y="2578029"/>
                </a:lnTo>
                <a:lnTo>
                  <a:pt x="10027499" y="2585967"/>
                </a:lnTo>
                <a:lnTo>
                  <a:pt x="10027499" y="2624067"/>
                </a:lnTo>
                <a:lnTo>
                  <a:pt x="10027499" y="2643117"/>
                </a:lnTo>
                <a:lnTo>
                  <a:pt x="10027499" y="2681216"/>
                </a:lnTo>
                <a:lnTo>
                  <a:pt x="10027499" y="2701853"/>
                </a:lnTo>
                <a:lnTo>
                  <a:pt x="10027499" y="2739952"/>
                </a:lnTo>
                <a:lnTo>
                  <a:pt x="10027499" y="2759002"/>
                </a:lnTo>
                <a:lnTo>
                  <a:pt x="10027499" y="2797101"/>
                </a:lnTo>
                <a:lnTo>
                  <a:pt x="10027499" y="2817738"/>
                </a:lnTo>
                <a:lnTo>
                  <a:pt x="10027499" y="2854250"/>
                </a:lnTo>
                <a:lnTo>
                  <a:pt x="10027499" y="2874887"/>
                </a:lnTo>
                <a:lnTo>
                  <a:pt x="10027499" y="2909812"/>
                </a:lnTo>
                <a:lnTo>
                  <a:pt x="10027499" y="2932037"/>
                </a:lnTo>
                <a:lnTo>
                  <a:pt x="10027499" y="2966961"/>
                </a:lnTo>
                <a:lnTo>
                  <a:pt x="10027499" y="2990773"/>
                </a:lnTo>
                <a:lnTo>
                  <a:pt x="10027499" y="3025698"/>
                </a:lnTo>
                <a:lnTo>
                  <a:pt x="10027499" y="3047923"/>
                </a:lnTo>
                <a:lnTo>
                  <a:pt x="10027499" y="3082847"/>
                </a:lnTo>
                <a:lnTo>
                  <a:pt x="10027499" y="3103484"/>
                </a:lnTo>
                <a:lnTo>
                  <a:pt x="10027499" y="3141583"/>
                </a:lnTo>
                <a:lnTo>
                  <a:pt x="10027499" y="3160633"/>
                </a:lnTo>
                <a:lnTo>
                  <a:pt x="10027499" y="3198732"/>
                </a:lnTo>
                <a:lnTo>
                  <a:pt x="10027499" y="3219369"/>
                </a:lnTo>
                <a:lnTo>
                  <a:pt x="10027499" y="3255881"/>
                </a:lnTo>
                <a:lnTo>
                  <a:pt x="10027499" y="3276518"/>
                </a:lnTo>
                <a:lnTo>
                  <a:pt x="10027499" y="3314618"/>
                </a:lnTo>
                <a:lnTo>
                  <a:pt x="10027499" y="3333668"/>
                </a:lnTo>
                <a:lnTo>
                  <a:pt x="10027499" y="3371767"/>
                </a:lnTo>
                <a:lnTo>
                  <a:pt x="10027499" y="3392404"/>
                </a:lnTo>
                <a:lnTo>
                  <a:pt x="10027499" y="3430503"/>
                </a:lnTo>
                <a:lnTo>
                  <a:pt x="10027499" y="3449553"/>
                </a:lnTo>
                <a:lnTo>
                  <a:pt x="10027499" y="3487652"/>
                </a:lnTo>
                <a:lnTo>
                  <a:pt x="10027499" y="3508289"/>
                </a:lnTo>
                <a:lnTo>
                  <a:pt x="10027499" y="3544801"/>
                </a:lnTo>
                <a:lnTo>
                  <a:pt x="10027499" y="3565438"/>
                </a:lnTo>
                <a:lnTo>
                  <a:pt x="10027499" y="3603538"/>
                </a:lnTo>
                <a:lnTo>
                  <a:pt x="10027499" y="3622588"/>
                </a:lnTo>
                <a:lnTo>
                  <a:pt x="10027499" y="3660687"/>
                </a:lnTo>
                <a:lnTo>
                  <a:pt x="10027499" y="3681324"/>
                </a:lnTo>
                <a:lnTo>
                  <a:pt x="10027499" y="3717836"/>
                </a:lnTo>
                <a:lnTo>
                  <a:pt x="10027499" y="3722511"/>
                </a:lnTo>
                <a:lnTo>
                  <a:pt x="6016174" y="3722511"/>
                </a:lnTo>
                <a:lnTo>
                  <a:pt x="6016174" y="1812966"/>
                </a:lnTo>
                <a:lnTo>
                  <a:pt x="6121479" y="1812966"/>
                </a:lnTo>
                <a:cubicBezTo>
                  <a:pt x="6121479" y="1812966"/>
                  <a:pt x="6563841" y="2161832"/>
                  <a:pt x="6856349" y="2812955"/>
                </a:cubicBezTo>
                <a:lnTo>
                  <a:pt x="6914185" y="2953310"/>
                </a:lnTo>
                <a:lnTo>
                  <a:pt x="6910206" y="2942588"/>
                </a:lnTo>
                <a:cubicBezTo>
                  <a:pt x="6910206" y="2942588"/>
                  <a:pt x="6910206" y="2942588"/>
                  <a:pt x="6974250" y="2942588"/>
                </a:cubicBezTo>
                <a:cubicBezTo>
                  <a:pt x="6974250" y="2942588"/>
                  <a:pt x="6974250" y="2942588"/>
                  <a:pt x="6974250" y="2623807"/>
                </a:cubicBezTo>
                <a:cubicBezTo>
                  <a:pt x="6974250" y="2623807"/>
                  <a:pt x="6974250" y="2623807"/>
                  <a:pt x="6943508" y="2623807"/>
                </a:cubicBezTo>
                <a:cubicBezTo>
                  <a:pt x="6943508" y="2623807"/>
                  <a:pt x="6943508" y="2623807"/>
                  <a:pt x="6943508" y="2533444"/>
                </a:cubicBezTo>
                <a:cubicBezTo>
                  <a:pt x="6943508" y="2533444"/>
                  <a:pt x="6943508" y="2533444"/>
                  <a:pt x="7060210" y="2533444"/>
                </a:cubicBezTo>
                <a:lnTo>
                  <a:pt x="7117697" y="2533444"/>
                </a:lnTo>
                <a:lnTo>
                  <a:pt x="7121840" y="2524813"/>
                </a:lnTo>
                <a:cubicBezTo>
                  <a:pt x="7185506" y="2400174"/>
                  <a:pt x="7246723" y="2318104"/>
                  <a:pt x="7261033" y="2299535"/>
                </a:cubicBezTo>
                <a:lnTo>
                  <a:pt x="7263816" y="2295970"/>
                </a:lnTo>
                <a:lnTo>
                  <a:pt x="7263790" y="2295525"/>
                </a:lnTo>
                <a:lnTo>
                  <a:pt x="7263973" y="2295769"/>
                </a:lnTo>
                <a:lnTo>
                  <a:pt x="7264164" y="2295525"/>
                </a:lnTo>
                <a:lnTo>
                  <a:pt x="7264232" y="2296117"/>
                </a:lnTo>
                <a:lnTo>
                  <a:pt x="7267234" y="2300132"/>
                </a:lnTo>
                <a:cubicBezTo>
                  <a:pt x="7287418" y="2327739"/>
                  <a:pt x="7391912" y="2479106"/>
                  <a:pt x="7463453" y="2745744"/>
                </a:cubicBezTo>
                <a:lnTo>
                  <a:pt x="7477245" y="2802923"/>
                </a:lnTo>
                <a:lnTo>
                  <a:pt x="7473795" y="2784453"/>
                </a:lnTo>
                <a:cubicBezTo>
                  <a:pt x="7481480" y="2799513"/>
                  <a:pt x="7484042" y="2809554"/>
                  <a:pt x="7484042" y="2809554"/>
                </a:cubicBezTo>
                <a:cubicBezTo>
                  <a:pt x="7484042" y="2809554"/>
                  <a:pt x="7514784" y="2716681"/>
                  <a:pt x="7558334" y="2671499"/>
                </a:cubicBezTo>
                <a:cubicBezTo>
                  <a:pt x="7558334" y="2671499"/>
                  <a:pt x="7558334" y="2671499"/>
                  <a:pt x="7558334" y="3283700"/>
                </a:cubicBezTo>
                <a:lnTo>
                  <a:pt x="7558334" y="3413966"/>
                </a:lnTo>
                <a:lnTo>
                  <a:pt x="7558576" y="3414612"/>
                </a:lnTo>
                <a:lnTo>
                  <a:pt x="7558576" y="1941565"/>
                </a:lnTo>
                <a:lnTo>
                  <a:pt x="7642822" y="1941565"/>
                </a:lnTo>
                <a:lnTo>
                  <a:pt x="7642822" y="1544684"/>
                </a:lnTo>
                <a:lnTo>
                  <a:pt x="7644279" y="1544684"/>
                </a:lnTo>
                <a:lnTo>
                  <a:pt x="7642728" y="1544514"/>
                </a:lnTo>
                <a:cubicBezTo>
                  <a:pt x="7642728" y="1544514"/>
                  <a:pt x="7678527" y="1481651"/>
                  <a:pt x="7704100" y="1406216"/>
                </a:cubicBezTo>
                <a:cubicBezTo>
                  <a:pt x="7729672" y="1328266"/>
                  <a:pt x="7719443" y="1217627"/>
                  <a:pt x="7719443" y="1217627"/>
                </a:cubicBezTo>
                <a:cubicBezTo>
                  <a:pt x="7719443" y="1217627"/>
                  <a:pt x="7719443" y="1217627"/>
                  <a:pt x="7757800" y="1217627"/>
                </a:cubicBezTo>
                <a:cubicBezTo>
                  <a:pt x="7757800" y="1217627"/>
                  <a:pt x="7757800" y="1217627"/>
                  <a:pt x="7788486" y="1217627"/>
                </a:cubicBezTo>
                <a:cubicBezTo>
                  <a:pt x="7788486" y="1217627"/>
                  <a:pt x="7788486" y="1217627"/>
                  <a:pt x="7826845" y="1217627"/>
                </a:cubicBezTo>
                <a:cubicBezTo>
                  <a:pt x="7826845" y="1217627"/>
                  <a:pt x="7819173" y="1328266"/>
                  <a:pt x="7844745" y="1406216"/>
                </a:cubicBezTo>
                <a:cubicBezTo>
                  <a:pt x="7870317" y="1481651"/>
                  <a:pt x="7903560" y="1544514"/>
                  <a:pt x="7903560" y="1544514"/>
                </a:cubicBezTo>
                <a:lnTo>
                  <a:pt x="7902009" y="1544684"/>
                </a:lnTo>
                <a:lnTo>
                  <a:pt x="7903560" y="1544684"/>
                </a:lnTo>
                <a:lnTo>
                  <a:pt x="7903560" y="1544654"/>
                </a:lnTo>
                <a:lnTo>
                  <a:pt x="7989425" y="1544654"/>
                </a:lnTo>
                <a:lnTo>
                  <a:pt x="7989425" y="1589104"/>
                </a:lnTo>
                <a:lnTo>
                  <a:pt x="7989425" y="1592279"/>
                </a:lnTo>
                <a:lnTo>
                  <a:pt x="7989425" y="1635142"/>
                </a:lnTo>
                <a:lnTo>
                  <a:pt x="7989425" y="1636729"/>
                </a:lnTo>
                <a:lnTo>
                  <a:pt x="7989425" y="1679592"/>
                </a:lnTo>
                <a:lnTo>
                  <a:pt x="7989425" y="1682767"/>
                </a:lnTo>
                <a:lnTo>
                  <a:pt x="7989425" y="1724042"/>
                </a:lnTo>
                <a:lnTo>
                  <a:pt x="7989425" y="1727217"/>
                </a:lnTo>
                <a:lnTo>
                  <a:pt x="7989425" y="1770080"/>
                </a:lnTo>
                <a:lnTo>
                  <a:pt x="7989425" y="1773255"/>
                </a:lnTo>
                <a:lnTo>
                  <a:pt x="7989425" y="1814530"/>
                </a:lnTo>
                <a:lnTo>
                  <a:pt x="7989425" y="1817705"/>
                </a:lnTo>
                <a:lnTo>
                  <a:pt x="7989425" y="1860568"/>
                </a:lnTo>
                <a:lnTo>
                  <a:pt x="7989425" y="1862155"/>
                </a:lnTo>
                <a:lnTo>
                  <a:pt x="7989425" y="1903431"/>
                </a:lnTo>
                <a:lnTo>
                  <a:pt x="7989425" y="1905018"/>
                </a:lnTo>
                <a:lnTo>
                  <a:pt x="7989425" y="1951056"/>
                </a:lnTo>
                <a:lnTo>
                  <a:pt x="7903660" y="1951056"/>
                </a:lnTo>
                <a:lnTo>
                  <a:pt x="7903660" y="1951090"/>
                </a:lnTo>
                <a:lnTo>
                  <a:pt x="7989526" y="1951090"/>
                </a:lnTo>
                <a:lnTo>
                  <a:pt x="7989526" y="2437482"/>
                </a:lnTo>
                <a:lnTo>
                  <a:pt x="8028419" y="2409823"/>
                </a:lnTo>
                <a:cubicBezTo>
                  <a:pt x="8043148" y="2402292"/>
                  <a:pt x="8059160" y="2396645"/>
                  <a:pt x="8075811" y="2392880"/>
                </a:cubicBezTo>
                <a:cubicBezTo>
                  <a:pt x="8075811" y="2392880"/>
                  <a:pt x="8075811" y="2392880"/>
                  <a:pt x="8075811" y="2199603"/>
                </a:cubicBezTo>
                <a:cubicBezTo>
                  <a:pt x="8075811" y="2199603"/>
                  <a:pt x="8075811" y="2199603"/>
                  <a:pt x="8147541" y="2199603"/>
                </a:cubicBezTo>
                <a:cubicBezTo>
                  <a:pt x="8147541" y="2199603"/>
                  <a:pt x="8147541" y="2199603"/>
                  <a:pt x="8147541" y="2392880"/>
                </a:cubicBezTo>
                <a:cubicBezTo>
                  <a:pt x="8173158" y="2397900"/>
                  <a:pt x="8198776" y="2410450"/>
                  <a:pt x="8221832" y="2425511"/>
                </a:cubicBezTo>
                <a:cubicBezTo>
                  <a:pt x="8221832" y="2425511"/>
                  <a:pt x="8221832" y="2425511"/>
                  <a:pt x="8221832" y="2596196"/>
                </a:cubicBezTo>
                <a:cubicBezTo>
                  <a:pt x="8221832" y="2596196"/>
                  <a:pt x="8221832" y="2596196"/>
                  <a:pt x="8221832" y="2656439"/>
                </a:cubicBezTo>
                <a:cubicBezTo>
                  <a:pt x="8221832" y="2656439"/>
                  <a:pt x="8221832" y="2656439"/>
                  <a:pt x="8221832" y="2701620"/>
                </a:cubicBezTo>
                <a:cubicBezTo>
                  <a:pt x="8198776" y="2719191"/>
                  <a:pt x="8173158" y="2729231"/>
                  <a:pt x="8147541" y="2736761"/>
                </a:cubicBezTo>
                <a:cubicBezTo>
                  <a:pt x="8147541" y="2736761"/>
                  <a:pt x="8147541" y="2736761"/>
                  <a:pt x="8147541" y="2844695"/>
                </a:cubicBezTo>
                <a:cubicBezTo>
                  <a:pt x="8147541" y="2844695"/>
                  <a:pt x="8147541" y="2844695"/>
                  <a:pt x="8221832" y="2844695"/>
                </a:cubicBezTo>
                <a:cubicBezTo>
                  <a:pt x="8221832" y="2844695"/>
                  <a:pt x="8221832" y="2844695"/>
                  <a:pt x="8221832" y="2977730"/>
                </a:cubicBezTo>
                <a:cubicBezTo>
                  <a:pt x="8221832" y="2977730"/>
                  <a:pt x="8221832" y="2977730"/>
                  <a:pt x="8196215" y="2977730"/>
                </a:cubicBezTo>
                <a:cubicBezTo>
                  <a:pt x="8196215" y="2977730"/>
                  <a:pt x="8196215" y="2977730"/>
                  <a:pt x="8162911" y="2977730"/>
                </a:cubicBezTo>
                <a:cubicBezTo>
                  <a:pt x="8162911" y="2977730"/>
                  <a:pt x="8162911" y="2977730"/>
                  <a:pt x="8137294" y="2977730"/>
                </a:cubicBezTo>
                <a:cubicBezTo>
                  <a:pt x="8137294" y="2977730"/>
                  <a:pt x="8137294" y="2977730"/>
                  <a:pt x="8119361" y="2977730"/>
                </a:cubicBezTo>
                <a:lnTo>
                  <a:pt x="8119361" y="2978150"/>
                </a:lnTo>
                <a:lnTo>
                  <a:pt x="8136840" y="2978150"/>
                </a:lnTo>
                <a:lnTo>
                  <a:pt x="8162762" y="2978150"/>
                </a:lnTo>
                <a:lnTo>
                  <a:pt x="8222704" y="2978150"/>
                </a:lnTo>
                <a:lnTo>
                  <a:pt x="8222704" y="2655887"/>
                </a:lnTo>
                <a:lnTo>
                  <a:pt x="8222704" y="2595562"/>
                </a:lnTo>
                <a:lnTo>
                  <a:pt x="8222704" y="2205037"/>
                </a:lnTo>
                <a:lnTo>
                  <a:pt x="8316668" y="2205037"/>
                </a:lnTo>
                <a:lnTo>
                  <a:pt x="8316668" y="1817687"/>
                </a:lnTo>
                <a:lnTo>
                  <a:pt x="8316668" y="1757362"/>
                </a:lnTo>
                <a:lnTo>
                  <a:pt x="8316668" y="1412875"/>
                </a:lnTo>
                <a:lnTo>
                  <a:pt x="8391192" y="1412875"/>
                </a:lnTo>
                <a:lnTo>
                  <a:pt x="8399292" y="1412875"/>
                </a:lnTo>
                <a:lnTo>
                  <a:pt x="8399292" y="1084262"/>
                </a:lnTo>
                <a:lnTo>
                  <a:pt x="8399292" y="933450"/>
                </a:lnTo>
                <a:lnTo>
                  <a:pt x="8423593" y="933450"/>
                </a:lnTo>
                <a:lnTo>
                  <a:pt x="8457615" y="933450"/>
                </a:lnTo>
                <a:lnTo>
                  <a:pt x="8470576" y="933450"/>
                </a:lnTo>
                <a:lnTo>
                  <a:pt x="8470576" y="755650"/>
                </a:lnTo>
                <a:lnTo>
                  <a:pt x="8470576" y="549275"/>
                </a:lnTo>
                <a:lnTo>
                  <a:pt x="8485156" y="549275"/>
                </a:lnTo>
                <a:lnTo>
                  <a:pt x="8514318" y="549275"/>
                </a:lnTo>
                <a:lnTo>
                  <a:pt x="8514318" y="471487"/>
                </a:lnTo>
                <a:lnTo>
                  <a:pt x="8514318" y="427037"/>
                </a:lnTo>
                <a:lnTo>
                  <a:pt x="8514318" y="290512"/>
                </a:lnTo>
                <a:lnTo>
                  <a:pt x="8553199" y="290512"/>
                </a:lnTo>
                <a:lnTo>
                  <a:pt x="8553199" y="163512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algn="ctr"/>
            <a:endParaRPr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BCBA6A7-5813-4A9C-9E79-F31CAEDB6044}"/>
              </a:ext>
            </a:extLst>
          </p:cNvPr>
          <p:cNvSpPr/>
          <p:nvPr userDrawn="1"/>
        </p:nvSpPr>
        <p:spPr>
          <a:xfrm>
            <a:off x="0" y="1495029"/>
            <a:ext cx="12191999" cy="247085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483430" y="1495029"/>
            <a:ext cx="5225140" cy="1640461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483430" y="3655011"/>
            <a:ext cx="522514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3432" y="3358740"/>
            <a:ext cx="522514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7/9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themeOverride" Target="../theme/themeOverride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comments" Target="../comments/commen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comments" Target="../comments/comment2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/>
              <a:t>结题报告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dirty="0" err="1"/>
              <a:t>Unipanic</a:t>
            </a:r>
            <a:r>
              <a:rPr lang="en-US" altLang="zh-CN" dirty="0"/>
              <a:t> Project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蔡智臻 高泽豫 徐怡 谢强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OSH-2021/x-</a:t>
            </a:r>
            <a:r>
              <a:rPr lang="en-US" altLang="zh-CN" dirty="0" err="1"/>
              <a:t>unipanic</a:t>
            </a:r>
            <a:endParaRPr lang="en-US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yscall</a:t>
            </a:r>
            <a:r>
              <a:rPr lang="en-US" altLang="zh-CN" dirty="0"/>
              <a:t> Rewriter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SH-2021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7A08AE9-DA6A-42BA-AC15-238153110577}"/>
              </a:ext>
            </a:extLst>
          </p:cNvPr>
          <p:cNvGrpSpPr/>
          <p:nvPr/>
        </p:nvGrpSpPr>
        <p:grpSpPr>
          <a:xfrm>
            <a:off x="669925" y="2013623"/>
            <a:ext cx="5060315" cy="2527897"/>
            <a:chOff x="6095205" y="2580034"/>
            <a:chExt cx="5122508" cy="2566857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201E77A-FEE0-4518-A3EC-F9082B052B33}"/>
                </a:ext>
              </a:extLst>
            </p:cNvPr>
            <p:cNvGrpSpPr/>
            <p:nvPr/>
          </p:nvGrpSpPr>
          <p:grpSpPr>
            <a:xfrm>
              <a:off x="6095205" y="2580034"/>
              <a:ext cx="5122508" cy="2566857"/>
              <a:chOff x="6095205" y="2580034"/>
              <a:chExt cx="5122508" cy="2566857"/>
            </a:xfrm>
          </p:grpSpPr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1D16AE32-C615-4651-92AA-8E6B90975E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095205" y="2580034"/>
                <a:ext cx="5122508" cy="2197525"/>
              </a:xfrm>
              <a:prstGeom prst="rect">
                <a:avLst/>
              </a:prstGeom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62B1CE40-97C7-4928-8F04-DD437BCBC4D2}"/>
                  </a:ext>
                </a:extLst>
              </p:cNvPr>
              <p:cNvSpPr txBox="1"/>
              <p:nvPr/>
            </p:nvSpPr>
            <p:spPr>
              <a:xfrm>
                <a:off x="7864241" y="4777559"/>
                <a:ext cx="149271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Our Rewriter</a:t>
                </a:r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63D619EE-6E7F-4F9C-AE63-CEB44CD5D436}"/>
                  </a:ext>
                </a:extLst>
              </p:cNvPr>
              <p:cNvGrpSpPr/>
              <p:nvPr/>
            </p:nvGrpSpPr>
            <p:grpSpPr>
              <a:xfrm>
                <a:off x="6525908" y="3225111"/>
                <a:ext cx="1822704" cy="453685"/>
                <a:chOff x="6522720" y="2631440"/>
                <a:chExt cx="1849120" cy="453685"/>
              </a:xfrm>
            </p:grpSpPr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69FD7111-7792-49A6-9672-E7F36C361D67}"/>
                    </a:ext>
                  </a:extLst>
                </p:cNvPr>
                <p:cNvSpPr/>
                <p:nvPr/>
              </p:nvSpPr>
              <p:spPr>
                <a:xfrm>
                  <a:off x="6522720" y="2631440"/>
                  <a:ext cx="1849120" cy="453685"/>
                </a:xfrm>
                <a:prstGeom prst="rect">
                  <a:avLst/>
                </a:prstGeom>
                <a:solidFill>
                  <a:srgbClr val="CCCCCC"/>
                </a:solidFill>
                <a:ln>
                  <a:solidFill>
                    <a:srgbClr val="CC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569CBADC-E57F-4D66-885E-A7269E82EB98}"/>
                    </a:ext>
                  </a:extLst>
                </p:cNvPr>
                <p:cNvSpPr/>
                <p:nvPr/>
              </p:nvSpPr>
              <p:spPr>
                <a:xfrm>
                  <a:off x="6522720" y="2691188"/>
                  <a:ext cx="1849120" cy="265372"/>
                </a:xfrm>
                <a:prstGeom prst="rect">
                  <a:avLst/>
                </a:prstGeom>
                <a:solidFill>
                  <a:srgbClr val="EEEEEE"/>
                </a:solidFill>
                <a:ln>
                  <a:solidFill>
                    <a:srgbClr val="EEEEE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654A569-6829-4555-A6B2-8BD21F529DB0}"/>
                </a:ext>
              </a:extLst>
            </p:cNvPr>
            <p:cNvSpPr txBox="1"/>
            <p:nvPr/>
          </p:nvSpPr>
          <p:spPr>
            <a:xfrm>
              <a:off x="6454869" y="3231731"/>
              <a:ext cx="2068195" cy="5078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mov $1, %</a:t>
              </a:r>
              <a:r>
                <a:rPr lang="en-US" sz="10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eax</a:t>
              </a:r>
              <a:r>
                <a:rPr lang="en-US" sz="10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</a:t>
              </a:r>
              <a:r>
                <a:rPr lang="en-US" altLang="zh-CN" sz="10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————5 bytes</a:t>
              </a:r>
              <a:endParaRPr lang="en-US" sz="1000" dirty="0">
                <a:latin typeface="Cascadia Code" panose="020B0609020000020004" pitchFamily="49" charset="0"/>
                <a:cs typeface="Cascadia Code" panose="020B0609020000020004" pitchFamily="49" charset="0"/>
              </a:endParaRPr>
            </a:p>
            <a:p>
              <a:pPr>
                <a:lnSpc>
                  <a:spcPct val="90000"/>
                </a:lnSpc>
              </a:pPr>
              <a:r>
                <a:rPr lang="en-US" sz="10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syscall</a:t>
              </a:r>
              <a:r>
                <a:rPr lang="en-US" sz="10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2 </a:t>
              </a:r>
              <a:r>
                <a:rPr lang="en-US" altLang="zh-CN" sz="10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———————2 bytes</a:t>
              </a:r>
              <a:endParaRPr lang="en-US" sz="1000" dirty="0">
                <a:latin typeface="Cascadia Code" panose="020B0609020000020004" pitchFamily="49" charset="0"/>
                <a:cs typeface="Cascadia Code" panose="020B0609020000020004" pitchFamily="49" charset="0"/>
              </a:endParaRPr>
            </a:p>
            <a:p>
              <a:pPr>
                <a:lnSpc>
                  <a:spcPct val="90000"/>
                </a:lnSpc>
              </a:pPr>
              <a:r>
                <a:rPr lang="en-US" sz="10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jmp</a:t>
              </a:r>
              <a:r>
                <a:rPr lang="en-US" sz="10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0x400400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2BABCDF6-DD00-446A-B0DF-10FD4C257C1E}"/>
              </a:ext>
            </a:extLst>
          </p:cNvPr>
          <p:cNvSpPr txBox="1"/>
          <p:nvPr/>
        </p:nvSpPr>
        <p:spPr>
          <a:xfrm>
            <a:off x="5875020" y="1619903"/>
            <a:ext cx="5365571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解决方案：向前替换</a:t>
            </a:r>
            <a:endParaRPr lang="en-US" altLang="zh-CN" dirty="0"/>
          </a:p>
          <a:p>
            <a:endParaRPr lang="en-US" dirty="0"/>
          </a:p>
          <a:p>
            <a:r>
              <a:rPr lang="zh-CN" altLang="en-US" dirty="0"/>
              <a:t>原因：汇编特点：</a:t>
            </a:r>
            <a:r>
              <a:rPr lang="en-US" altLang="zh-CN" dirty="0" err="1"/>
              <a:t>syscall</a:t>
            </a:r>
            <a:r>
              <a:rPr lang="en-US" altLang="zh-CN" dirty="0"/>
              <a:t> </a:t>
            </a:r>
            <a:r>
              <a:rPr lang="zh-CN" altLang="en-US" dirty="0"/>
              <a:t>前往往存在 </a:t>
            </a:r>
            <a:r>
              <a:rPr lang="en-US" altLang="zh-CN" dirty="0"/>
              <a:t>mov *ax </a:t>
            </a:r>
            <a:r>
              <a:rPr lang="zh-CN" altLang="en-US" dirty="0"/>
              <a:t>指令</a:t>
            </a:r>
            <a:endParaRPr lang="en-US" altLang="zh-CN" dirty="0"/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mov *</a:t>
            </a:r>
            <a:r>
              <a:rPr lang="en-US" altLang="zh-CN" dirty="0"/>
              <a:t>ax </a:t>
            </a:r>
            <a:r>
              <a:rPr lang="zh-CN" altLang="en-US" dirty="0"/>
              <a:t>作为跳转目的地的可能性极小</a:t>
            </a:r>
            <a:endParaRPr lang="en-US" altLang="zh-CN" dirty="0"/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mov *ax </a:t>
            </a:r>
            <a:r>
              <a:rPr lang="zh-CN" altLang="en-US" dirty="0"/>
              <a:t>可以安全地与 </a:t>
            </a:r>
            <a:r>
              <a:rPr lang="en-US" altLang="zh-CN" dirty="0" err="1"/>
              <a:t>syscall</a:t>
            </a:r>
            <a:r>
              <a:rPr lang="en-US" altLang="zh-CN" dirty="0"/>
              <a:t> </a:t>
            </a:r>
            <a:r>
              <a:rPr lang="zh-CN" altLang="en-US" dirty="0"/>
              <a:t>打包，</a:t>
            </a:r>
            <a:endParaRPr lang="en-US" altLang="zh-CN" dirty="0"/>
          </a:p>
          <a:p>
            <a:r>
              <a:rPr lang="en-US" altLang="zh-CN" dirty="0"/>
              <a:t>      </a:t>
            </a:r>
            <a:r>
              <a:rPr lang="zh-CN" altLang="en-US" dirty="0"/>
              <a:t>减少筛查合适指令难度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3E3C6C-D709-4C21-97FE-152497E0FED8}"/>
              </a:ext>
            </a:extLst>
          </p:cNvPr>
          <p:cNvSpPr txBox="1"/>
          <p:nvPr/>
        </p:nvSpPr>
        <p:spPr>
          <a:xfrm>
            <a:off x="818759" y="4484724"/>
            <a:ext cx="563283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if(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prev_use_rip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(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scblock,sc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-&gt;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get_prev_address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(),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  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sc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-&gt;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get_address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()))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   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cout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&lt;&lt;"rip problem"&lt;&lt;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endl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;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else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{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   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sc_prev_list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-&gt;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push_back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(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sc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);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   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prevc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++;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}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Cascadia Code" panose="020B0609020000020004" pitchFamily="49" charset="0"/>
              <a:cs typeface="Cascadia Code" panose="020B0609020000020004" pitchFamily="49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CD7E9FA-6D63-4E4E-B6D4-5F58641FAECE}"/>
              </a:ext>
            </a:extLst>
          </p:cNvPr>
          <p:cNvSpPr txBox="1"/>
          <p:nvPr/>
        </p:nvSpPr>
        <p:spPr>
          <a:xfrm>
            <a:off x="5875021" y="4150098"/>
            <a:ext cx="5498220" cy="128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在原方法的基础上，可再重写 </a:t>
            </a:r>
            <a:r>
              <a:rPr lang="en-US" altLang="zh-CN" dirty="0"/>
              <a:t>90 </a:t>
            </a:r>
            <a:r>
              <a:rPr lang="zh-CN" altLang="en-US" dirty="0"/>
              <a:t>个 </a:t>
            </a:r>
            <a:r>
              <a:rPr lang="en-US" altLang="zh-CN" dirty="0" err="1"/>
              <a:t>syscalls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由只分析前一行变为前两行，可将 </a:t>
            </a:r>
            <a:r>
              <a:rPr lang="en-US" altLang="zh-CN" dirty="0"/>
              <a:t>697 </a:t>
            </a:r>
            <a:r>
              <a:rPr lang="zh-CN" altLang="en-US" dirty="0"/>
              <a:t>个 </a:t>
            </a:r>
            <a:r>
              <a:rPr lang="en-US" altLang="zh-CN" dirty="0" err="1"/>
              <a:t>syscalls</a:t>
            </a:r>
            <a:r>
              <a:rPr lang="en-US" altLang="zh-CN" dirty="0"/>
              <a:t> </a:t>
            </a:r>
            <a:r>
              <a:rPr lang="zh-CN" altLang="en-US" dirty="0"/>
              <a:t>完全重写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6701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486900" y="4343399"/>
            <a:ext cx="1923594" cy="17027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>
                    <a:lumMod val="20000"/>
                    <a:lumOff val="8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>
                  <a:lumMod val="20000"/>
                  <a:lumOff val="80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12" name="标题 4">
            <a:extLst>
              <a:ext uri="{FF2B5EF4-FFF2-40B4-BE49-F238E27FC236}">
                <a16:creationId xmlns:a16="http://schemas.microsoft.com/office/drawing/2014/main" id="{0DFEA787-07DC-409D-8AB4-47BCE7C27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8909" y="2407845"/>
            <a:ext cx="5419185" cy="785199"/>
          </a:xfrm>
        </p:spPr>
        <p:txBody>
          <a:bodyPr>
            <a:normAutofit/>
          </a:bodyPr>
          <a:lstStyle/>
          <a:p>
            <a:r>
              <a:rPr lang="zh-CN" altLang="en-US" sz="3200" dirty="0"/>
              <a:t>测试</a:t>
            </a:r>
          </a:p>
        </p:txBody>
      </p:sp>
      <p:sp>
        <p:nvSpPr>
          <p:cNvPr id="13" name="文本占位符 5">
            <a:extLst>
              <a:ext uri="{FF2B5EF4-FFF2-40B4-BE49-F238E27FC236}">
                <a16:creationId xmlns:a16="http://schemas.microsoft.com/office/drawing/2014/main" id="{CC420DA6-55DC-4E71-8A67-4B61D3225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68909" y="3097463"/>
            <a:ext cx="5419185" cy="722708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zh-CN" altLang="en-US" sz="1400" dirty="0"/>
              <a:t>对修改的测试结果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33960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ork </a:t>
            </a:r>
            <a:r>
              <a:rPr lang="en-US" altLang="zh-CN" dirty="0" err="1"/>
              <a:t>Syscall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SH-2021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9E49CC4-CC61-4DF0-9B12-E110F0D88BE8}"/>
              </a:ext>
            </a:extLst>
          </p:cNvPr>
          <p:cNvGrpSpPr/>
          <p:nvPr/>
        </p:nvGrpSpPr>
        <p:grpSpPr>
          <a:xfrm>
            <a:off x="974725" y="1477272"/>
            <a:ext cx="4344035" cy="4296356"/>
            <a:chOff x="974725" y="1477272"/>
            <a:chExt cx="4344035" cy="4296356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72B92D5-121A-4221-8D43-36CDD50FA454}"/>
                </a:ext>
              </a:extLst>
            </p:cNvPr>
            <p:cNvSpPr txBox="1"/>
            <p:nvPr/>
          </p:nvSpPr>
          <p:spPr>
            <a:xfrm>
              <a:off x="974725" y="2018754"/>
              <a:ext cx="4344035" cy="37548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#include &lt;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stdio.h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&gt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#include &lt;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unistd.h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&gt;</a:t>
              </a:r>
            </a:p>
            <a:p>
              <a:endParaRPr lang="en-US" sz="1400" dirty="0">
                <a:latin typeface="Cascadia Code" panose="020B0609020000020004" pitchFamily="49" charset="0"/>
                <a:cs typeface="Cascadia Code" panose="020B0609020000020004" pitchFamily="49" charset="0"/>
              </a:endParaRP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int main()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{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int ret = fork();</a:t>
              </a:r>
            </a:p>
            <a:p>
              <a:endParaRPr lang="en-US" sz="1400" dirty="0">
                <a:latin typeface="Cascadia Code" panose="020B0609020000020004" pitchFamily="49" charset="0"/>
                <a:cs typeface="Cascadia Code" panose="020B0609020000020004" pitchFamily="49" charset="0"/>
              </a:endParaRP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if (ret != 0)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{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printf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("prog: Parent,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pid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= %d\n", ret)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}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else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{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printf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("prog: Child\n")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}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}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E040A15-A3AB-4E7D-8F37-AABDE98DC501}"/>
                </a:ext>
              </a:extLst>
            </p:cNvPr>
            <p:cNvSpPr txBox="1"/>
            <p:nvPr/>
          </p:nvSpPr>
          <p:spPr>
            <a:xfrm>
              <a:off x="2186026" y="1477272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/>
                <a:t>测试代码</a:t>
              </a:r>
              <a:endParaRPr lang="en-US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7DD3C56-C2F7-4176-9BD4-B5BE2F3429D8}"/>
              </a:ext>
            </a:extLst>
          </p:cNvPr>
          <p:cNvGrpSpPr/>
          <p:nvPr/>
        </p:nvGrpSpPr>
        <p:grpSpPr>
          <a:xfrm>
            <a:off x="5090073" y="1477272"/>
            <a:ext cx="4344035" cy="3865469"/>
            <a:chOff x="6438581" y="1477272"/>
            <a:chExt cx="4344035" cy="3865469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EF078FB-0C7F-43A5-8EE4-32E1E468075B}"/>
                </a:ext>
              </a:extLst>
            </p:cNvPr>
            <p:cNvSpPr txBox="1"/>
            <p:nvPr/>
          </p:nvSpPr>
          <p:spPr>
            <a:xfrm>
              <a:off x="8056601" y="1477272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/>
                <a:t>测试结果</a:t>
              </a:r>
              <a:endParaRPr lang="en-US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9123A85-9C2C-41E9-A0D5-66297839963F}"/>
                </a:ext>
              </a:extLst>
            </p:cNvPr>
            <p:cNvSpPr txBox="1"/>
            <p:nvPr/>
          </p:nvSpPr>
          <p:spPr>
            <a:xfrm>
              <a:off x="6438581" y="2018754"/>
              <a:ext cx="4344035" cy="3323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gcc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3.c -o 3.out -static</a:t>
              </a:r>
            </a:p>
            <a:p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sudo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HERMIT_ISLE=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uhyve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HERMIT_TUX=1 HERMIT_VERBOSE=1 HERMIT_DEBUG=0 \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	../build/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local_prefix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/home/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elsa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/Code/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hermitux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-kernel/prefix/bin/proxy 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...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prog: Parent,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pid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= 2781</a:t>
              </a:r>
            </a:p>
            <a:p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uhyve_atexit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prog_cnt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= 0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...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prog: Child</a:t>
              </a:r>
            </a:p>
            <a:p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uhyve_atexit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prog_cnt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= 1</a:t>
              </a:r>
            </a:p>
            <a:p>
              <a:endParaRPr lang="en-US" sz="1400" dirty="0">
                <a:latin typeface="Cascadia Code" panose="020B0609020000020004" pitchFamily="49" charset="0"/>
                <a:cs typeface="Cascadia Code" panose="020B0609020000020004" pitchFamily="49" charset="0"/>
              </a:endParaRPr>
            </a:p>
            <a:p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uhyve_atexit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Dump kernel log: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================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...</a:t>
              </a:r>
            </a:p>
          </p:txBody>
        </p:sp>
      </p:grpSp>
      <p:grpSp>
        <p:nvGrpSpPr>
          <p:cNvPr id="17" name="组合 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65D3119-BE43-433F-BB46-AAE4B2D9679B}"/>
              </a:ext>
            </a:extLst>
          </p:cNvPr>
          <p:cNvGrpSpPr>
            <a:grpSpLocks noChangeAspect="1"/>
          </p:cNvGrpSpPr>
          <p:nvPr/>
        </p:nvGrpSpPr>
        <p:grpSpPr>
          <a:xfrm>
            <a:off x="9037639" y="4045527"/>
            <a:ext cx="2368728" cy="1950316"/>
            <a:chOff x="3043238" y="1141413"/>
            <a:chExt cx="6075363" cy="5002212"/>
          </a:xfrm>
        </p:grpSpPr>
        <p:sp>
          <p:nvSpPr>
            <p:cNvPr id="18" name="ïślïḑe">
              <a:extLst>
                <a:ext uri="{FF2B5EF4-FFF2-40B4-BE49-F238E27FC236}">
                  <a16:creationId xmlns:a16="http://schemas.microsoft.com/office/drawing/2014/main" id="{9C1ACBED-54EB-4A4C-913F-0DF3EAE76F11}"/>
                </a:ext>
              </a:extLst>
            </p:cNvPr>
            <p:cNvSpPr/>
            <p:nvPr/>
          </p:nvSpPr>
          <p:spPr bwMode="auto">
            <a:xfrm>
              <a:off x="3579813" y="1141413"/>
              <a:ext cx="2819400" cy="614362"/>
            </a:xfrm>
            <a:custGeom>
              <a:avLst/>
              <a:gdLst>
                <a:gd name="T0" fmla="*/ 0 w 4258"/>
                <a:gd name="T1" fmla="*/ 752 h 929"/>
                <a:gd name="T2" fmla="*/ 177 w 4258"/>
                <a:gd name="T3" fmla="*/ 929 h 929"/>
                <a:gd name="T4" fmla="*/ 4081 w 4258"/>
                <a:gd name="T5" fmla="*/ 929 h 929"/>
                <a:gd name="T6" fmla="*/ 4258 w 4258"/>
                <a:gd name="T7" fmla="*/ 752 h 929"/>
                <a:gd name="T8" fmla="*/ 4258 w 4258"/>
                <a:gd name="T9" fmla="*/ 177 h 929"/>
                <a:gd name="T10" fmla="*/ 4081 w 4258"/>
                <a:gd name="T11" fmla="*/ 0 h 929"/>
                <a:gd name="T12" fmla="*/ 177 w 4258"/>
                <a:gd name="T13" fmla="*/ 0 h 929"/>
                <a:gd name="T14" fmla="*/ 0 w 4258"/>
                <a:gd name="T15" fmla="*/ 177 h 929"/>
                <a:gd name="T16" fmla="*/ 0 w 4258"/>
                <a:gd name="T17" fmla="*/ 752 h 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58" h="929">
                  <a:moveTo>
                    <a:pt x="0" y="752"/>
                  </a:moveTo>
                  <a:cubicBezTo>
                    <a:pt x="0" y="849"/>
                    <a:pt x="80" y="929"/>
                    <a:pt x="177" y="929"/>
                  </a:cubicBezTo>
                  <a:cubicBezTo>
                    <a:pt x="4081" y="929"/>
                    <a:pt x="4081" y="929"/>
                    <a:pt x="4081" y="929"/>
                  </a:cubicBezTo>
                  <a:cubicBezTo>
                    <a:pt x="4179" y="929"/>
                    <a:pt x="4258" y="849"/>
                    <a:pt x="4258" y="752"/>
                  </a:cubicBezTo>
                  <a:cubicBezTo>
                    <a:pt x="4258" y="177"/>
                    <a:pt x="4258" y="177"/>
                    <a:pt x="4258" y="177"/>
                  </a:cubicBezTo>
                  <a:cubicBezTo>
                    <a:pt x="4258" y="79"/>
                    <a:pt x="4179" y="0"/>
                    <a:pt x="4081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80" y="0"/>
                    <a:pt x="0" y="79"/>
                    <a:pt x="0" y="177"/>
                  </a:cubicBezTo>
                  <a:lnTo>
                    <a:pt x="0" y="752"/>
                  </a:lnTo>
                  <a:close/>
                </a:path>
              </a:pathLst>
            </a:custGeom>
            <a:solidFill>
              <a:srgbClr val="2A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îṥľíḍé">
              <a:extLst>
                <a:ext uri="{FF2B5EF4-FFF2-40B4-BE49-F238E27FC236}">
                  <a16:creationId xmlns:a16="http://schemas.microsoft.com/office/drawing/2014/main" id="{A86443EE-EAFE-4D9D-A124-75D3CCC10924}"/>
                </a:ext>
              </a:extLst>
            </p:cNvPr>
            <p:cNvSpPr/>
            <p:nvPr/>
          </p:nvSpPr>
          <p:spPr bwMode="auto">
            <a:xfrm>
              <a:off x="4211638" y="1196975"/>
              <a:ext cx="2127250" cy="503237"/>
            </a:xfrm>
            <a:custGeom>
              <a:avLst/>
              <a:gdLst>
                <a:gd name="T0" fmla="*/ 3066 w 3211"/>
                <a:gd name="T1" fmla="*/ 0 h 761"/>
                <a:gd name="T2" fmla="*/ 3211 w 3211"/>
                <a:gd name="T3" fmla="*/ 145 h 761"/>
                <a:gd name="T4" fmla="*/ 3211 w 3211"/>
                <a:gd name="T5" fmla="*/ 616 h 761"/>
                <a:gd name="T6" fmla="*/ 3066 w 3211"/>
                <a:gd name="T7" fmla="*/ 761 h 761"/>
                <a:gd name="T8" fmla="*/ 0 w 3211"/>
                <a:gd name="T9" fmla="*/ 761 h 761"/>
                <a:gd name="T10" fmla="*/ 0 w 3211"/>
                <a:gd name="T11" fmla="*/ 0 h 761"/>
                <a:gd name="T12" fmla="*/ 3066 w 3211"/>
                <a:gd name="T1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11" h="761">
                  <a:moveTo>
                    <a:pt x="3066" y="0"/>
                  </a:moveTo>
                  <a:cubicBezTo>
                    <a:pt x="3146" y="0"/>
                    <a:pt x="3211" y="65"/>
                    <a:pt x="3211" y="145"/>
                  </a:cubicBezTo>
                  <a:cubicBezTo>
                    <a:pt x="3211" y="616"/>
                    <a:pt x="3211" y="616"/>
                    <a:pt x="3211" y="616"/>
                  </a:cubicBezTo>
                  <a:cubicBezTo>
                    <a:pt x="3211" y="696"/>
                    <a:pt x="3146" y="761"/>
                    <a:pt x="3066" y="761"/>
                  </a:cubicBezTo>
                  <a:cubicBezTo>
                    <a:pt x="0" y="761"/>
                    <a:pt x="0" y="761"/>
                    <a:pt x="0" y="76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06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iṡḻïďè">
              <a:extLst>
                <a:ext uri="{FF2B5EF4-FFF2-40B4-BE49-F238E27FC236}">
                  <a16:creationId xmlns:a16="http://schemas.microsoft.com/office/drawing/2014/main" id="{6FCCE955-72AF-4B09-85DD-7500D2FB8FF6}"/>
                </a:ext>
              </a:extLst>
            </p:cNvPr>
            <p:cNvSpPr/>
            <p:nvPr/>
          </p:nvSpPr>
          <p:spPr bwMode="auto">
            <a:xfrm>
              <a:off x="3686176" y="1220788"/>
              <a:ext cx="476250" cy="442912"/>
            </a:xfrm>
            <a:custGeom>
              <a:avLst/>
              <a:gdLst>
                <a:gd name="T0" fmla="*/ 644 w 718"/>
                <a:gd name="T1" fmla="*/ 92 h 667"/>
                <a:gd name="T2" fmla="*/ 359 w 718"/>
                <a:gd name="T3" fmla="*/ 74 h 667"/>
                <a:gd name="T4" fmla="*/ 329 w 718"/>
                <a:gd name="T5" fmla="*/ 343 h 667"/>
                <a:gd name="T6" fmla="*/ 242 w 718"/>
                <a:gd name="T7" fmla="*/ 420 h 667"/>
                <a:gd name="T8" fmla="*/ 198 w 718"/>
                <a:gd name="T9" fmla="*/ 425 h 667"/>
                <a:gd name="T10" fmla="*/ 17 w 718"/>
                <a:gd name="T11" fmla="*/ 584 h 667"/>
                <a:gd name="T12" fmla="*/ 16 w 718"/>
                <a:gd name="T13" fmla="*/ 645 h 667"/>
                <a:gd name="T14" fmla="*/ 76 w 718"/>
                <a:gd name="T15" fmla="*/ 652 h 667"/>
                <a:gd name="T16" fmla="*/ 257 w 718"/>
                <a:gd name="T17" fmla="*/ 493 h 667"/>
                <a:gd name="T18" fmla="*/ 268 w 718"/>
                <a:gd name="T19" fmla="*/ 450 h 667"/>
                <a:gd name="T20" fmla="*/ 355 w 718"/>
                <a:gd name="T21" fmla="*/ 373 h 667"/>
                <a:gd name="T22" fmla="*/ 626 w 718"/>
                <a:gd name="T23" fmla="*/ 377 h 667"/>
                <a:gd name="T24" fmla="*/ 644 w 718"/>
                <a:gd name="T25" fmla="*/ 92 h 667"/>
                <a:gd name="T26" fmla="*/ 492 w 718"/>
                <a:gd name="T27" fmla="*/ 390 h 667"/>
                <a:gd name="T28" fmla="*/ 327 w 718"/>
                <a:gd name="T29" fmla="*/ 225 h 667"/>
                <a:gd name="T30" fmla="*/ 492 w 718"/>
                <a:gd name="T31" fmla="*/ 60 h 667"/>
                <a:gd name="T32" fmla="*/ 656 w 718"/>
                <a:gd name="T33" fmla="*/ 225 h 667"/>
                <a:gd name="T34" fmla="*/ 492 w 718"/>
                <a:gd name="T35" fmla="*/ 39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18" h="667">
                  <a:moveTo>
                    <a:pt x="644" y="92"/>
                  </a:moveTo>
                  <a:cubicBezTo>
                    <a:pt x="571" y="9"/>
                    <a:pt x="443" y="0"/>
                    <a:pt x="359" y="74"/>
                  </a:cubicBezTo>
                  <a:cubicBezTo>
                    <a:pt x="281" y="143"/>
                    <a:pt x="269" y="260"/>
                    <a:pt x="329" y="343"/>
                  </a:cubicBezTo>
                  <a:cubicBezTo>
                    <a:pt x="242" y="420"/>
                    <a:pt x="242" y="420"/>
                    <a:pt x="242" y="420"/>
                  </a:cubicBezTo>
                  <a:cubicBezTo>
                    <a:pt x="227" y="413"/>
                    <a:pt x="210" y="415"/>
                    <a:pt x="198" y="425"/>
                  </a:cubicBezTo>
                  <a:cubicBezTo>
                    <a:pt x="17" y="584"/>
                    <a:pt x="17" y="584"/>
                    <a:pt x="17" y="584"/>
                  </a:cubicBezTo>
                  <a:cubicBezTo>
                    <a:pt x="0" y="599"/>
                    <a:pt x="0" y="626"/>
                    <a:pt x="16" y="645"/>
                  </a:cubicBezTo>
                  <a:cubicBezTo>
                    <a:pt x="32" y="663"/>
                    <a:pt x="59" y="667"/>
                    <a:pt x="76" y="652"/>
                  </a:cubicBezTo>
                  <a:cubicBezTo>
                    <a:pt x="257" y="493"/>
                    <a:pt x="257" y="493"/>
                    <a:pt x="257" y="493"/>
                  </a:cubicBezTo>
                  <a:cubicBezTo>
                    <a:pt x="269" y="482"/>
                    <a:pt x="273" y="465"/>
                    <a:pt x="268" y="450"/>
                  </a:cubicBezTo>
                  <a:cubicBezTo>
                    <a:pt x="355" y="373"/>
                    <a:pt x="355" y="373"/>
                    <a:pt x="355" y="373"/>
                  </a:cubicBezTo>
                  <a:cubicBezTo>
                    <a:pt x="430" y="443"/>
                    <a:pt x="547" y="447"/>
                    <a:pt x="626" y="377"/>
                  </a:cubicBezTo>
                  <a:cubicBezTo>
                    <a:pt x="710" y="304"/>
                    <a:pt x="718" y="176"/>
                    <a:pt x="644" y="92"/>
                  </a:cubicBezTo>
                  <a:close/>
                  <a:moveTo>
                    <a:pt x="492" y="390"/>
                  </a:moveTo>
                  <a:cubicBezTo>
                    <a:pt x="401" y="390"/>
                    <a:pt x="327" y="316"/>
                    <a:pt x="327" y="225"/>
                  </a:cubicBezTo>
                  <a:cubicBezTo>
                    <a:pt x="327" y="134"/>
                    <a:pt x="401" y="60"/>
                    <a:pt x="492" y="60"/>
                  </a:cubicBezTo>
                  <a:cubicBezTo>
                    <a:pt x="583" y="60"/>
                    <a:pt x="656" y="134"/>
                    <a:pt x="656" y="225"/>
                  </a:cubicBezTo>
                  <a:cubicBezTo>
                    <a:pt x="656" y="316"/>
                    <a:pt x="583" y="390"/>
                    <a:pt x="492" y="3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i$ḷîḋê">
              <a:extLst>
                <a:ext uri="{FF2B5EF4-FFF2-40B4-BE49-F238E27FC236}">
                  <a16:creationId xmlns:a16="http://schemas.microsoft.com/office/drawing/2014/main" id="{28DDD117-B7EC-4345-AF09-6F841B5FA91E}"/>
                </a:ext>
              </a:extLst>
            </p:cNvPr>
            <p:cNvSpPr/>
            <p:nvPr/>
          </p:nvSpPr>
          <p:spPr bwMode="auto">
            <a:xfrm>
              <a:off x="5648326" y="1384300"/>
              <a:ext cx="128588" cy="128587"/>
            </a:xfrm>
            <a:prstGeom prst="ellipse">
              <a:avLst/>
            </a:prstGeom>
            <a:solidFill>
              <a:srgbClr val="2A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iṧḻïḋé">
              <a:extLst>
                <a:ext uri="{FF2B5EF4-FFF2-40B4-BE49-F238E27FC236}">
                  <a16:creationId xmlns:a16="http://schemas.microsoft.com/office/drawing/2014/main" id="{B81C856C-5E82-4BDC-81CD-500EE43536AD}"/>
                </a:ext>
              </a:extLst>
            </p:cNvPr>
            <p:cNvSpPr/>
            <p:nvPr/>
          </p:nvSpPr>
          <p:spPr bwMode="auto">
            <a:xfrm>
              <a:off x="5211763" y="1384300"/>
              <a:ext cx="128588" cy="128587"/>
            </a:xfrm>
            <a:prstGeom prst="ellipse">
              <a:avLst/>
            </a:prstGeom>
            <a:solidFill>
              <a:srgbClr val="2A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śľiḓè">
              <a:extLst>
                <a:ext uri="{FF2B5EF4-FFF2-40B4-BE49-F238E27FC236}">
                  <a16:creationId xmlns:a16="http://schemas.microsoft.com/office/drawing/2014/main" id="{853FF8AD-EBF7-4261-9642-7D0C3E1F7CB6}"/>
                </a:ext>
              </a:extLst>
            </p:cNvPr>
            <p:cNvSpPr/>
            <p:nvPr/>
          </p:nvSpPr>
          <p:spPr bwMode="auto">
            <a:xfrm>
              <a:off x="4773613" y="1384300"/>
              <a:ext cx="128588" cy="128587"/>
            </a:xfrm>
            <a:prstGeom prst="ellipse">
              <a:avLst/>
            </a:prstGeom>
            <a:solidFill>
              <a:srgbClr val="2A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ïṡľíḍê">
              <a:extLst>
                <a:ext uri="{FF2B5EF4-FFF2-40B4-BE49-F238E27FC236}">
                  <a16:creationId xmlns:a16="http://schemas.microsoft.com/office/drawing/2014/main" id="{15469767-D562-4969-894F-DDBBAFFD9CC7}"/>
                </a:ext>
              </a:extLst>
            </p:cNvPr>
            <p:cNvSpPr/>
            <p:nvPr/>
          </p:nvSpPr>
          <p:spPr bwMode="auto">
            <a:xfrm>
              <a:off x="5608638" y="5164138"/>
              <a:ext cx="1219200" cy="288925"/>
            </a:xfrm>
            <a:custGeom>
              <a:avLst/>
              <a:gdLst>
                <a:gd name="T0" fmla="*/ 0 w 1842"/>
                <a:gd name="T1" fmla="*/ 335 h 436"/>
                <a:gd name="T2" fmla="*/ 276 w 1842"/>
                <a:gd name="T3" fmla="*/ 0 h 436"/>
                <a:gd name="T4" fmla="*/ 1566 w 1842"/>
                <a:gd name="T5" fmla="*/ 0 h 436"/>
                <a:gd name="T6" fmla="*/ 1842 w 1842"/>
                <a:gd name="T7" fmla="*/ 335 h 436"/>
                <a:gd name="T8" fmla="*/ 1842 w 1842"/>
                <a:gd name="T9" fmla="*/ 436 h 436"/>
                <a:gd name="T10" fmla="*/ 0 w 1842"/>
                <a:gd name="T11" fmla="*/ 436 h 436"/>
                <a:gd name="T12" fmla="*/ 0 w 1842"/>
                <a:gd name="T13" fmla="*/ 335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2" h="436">
                  <a:moveTo>
                    <a:pt x="0" y="335"/>
                  </a:moveTo>
                  <a:cubicBezTo>
                    <a:pt x="0" y="150"/>
                    <a:pt x="124" y="0"/>
                    <a:pt x="276" y="0"/>
                  </a:cubicBezTo>
                  <a:cubicBezTo>
                    <a:pt x="1566" y="0"/>
                    <a:pt x="1566" y="0"/>
                    <a:pt x="1566" y="0"/>
                  </a:cubicBezTo>
                  <a:cubicBezTo>
                    <a:pt x="1718" y="0"/>
                    <a:pt x="1842" y="150"/>
                    <a:pt x="1842" y="335"/>
                  </a:cubicBezTo>
                  <a:cubicBezTo>
                    <a:pt x="1842" y="436"/>
                    <a:pt x="1842" y="436"/>
                    <a:pt x="1842" y="436"/>
                  </a:cubicBezTo>
                  <a:cubicBezTo>
                    <a:pt x="0" y="436"/>
                    <a:pt x="0" y="436"/>
                    <a:pt x="0" y="436"/>
                  </a:cubicBezTo>
                  <a:lnTo>
                    <a:pt x="0" y="335"/>
                  </a:lnTo>
                  <a:close/>
                </a:path>
              </a:pathLst>
            </a:custGeom>
            <a:solidFill>
              <a:srgbClr val="101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ïŝḻiďe">
              <a:extLst>
                <a:ext uri="{FF2B5EF4-FFF2-40B4-BE49-F238E27FC236}">
                  <a16:creationId xmlns:a16="http://schemas.microsoft.com/office/drawing/2014/main" id="{68A6024B-87BF-4BD1-992E-9C180D7B7757}"/>
                </a:ext>
              </a:extLst>
            </p:cNvPr>
            <p:cNvSpPr/>
            <p:nvPr/>
          </p:nvSpPr>
          <p:spPr bwMode="auto">
            <a:xfrm>
              <a:off x="5608638" y="5453063"/>
              <a:ext cx="1219200" cy="493712"/>
            </a:xfrm>
            <a:custGeom>
              <a:avLst/>
              <a:gdLst>
                <a:gd name="T0" fmla="*/ 1842 w 1842"/>
                <a:gd name="T1" fmla="*/ 0 h 747"/>
                <a:gd name="T2" fmla="*/ 1842 w 1842"/>
                <a:gd name="T3" fmla="*/ 412 h 747"/>
                <a:gd name="T4" fmla="*/ 1566 w 1842"/>
                <a:gd name="T5" fmla="*/ 747 h 747"/>
                <a:gd name="T6" fmla="*/ 276 w 1842"/>
                <a:gd name="T7" fmla="*/ 747 h 747"/>
                <a:gd name="T8" fmla="*/ 0 w 1842"/>
                <a:gd name="T9" fmla="*/ 412 h 747"/>
                <a:gd name="T10" fmla="*/ 0 w 1842"/>
                <a:gd name="T11" fmla="*/ 0 h 747"/>
                <a:gd name="T12" fmla="*/ 1842 w 1842"/>
                <a:gd name="T13" fmla="*/ 0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2" h="747">
                  <a:moveTo>
                    <a:pt x="1842" y="0"/>
                  </a:moveTo>
                  <a:cubicBezTo>
                    <a:pt x="1842" y="412"/>
                    <a:pt x="1842" y="412"/>
                    <a:pt x="1842" y="412"/>
                  </a:cubicBezTo>
                  <a:cubicBezTo>
                    <a:pt x="1842" y="597"/>
                    <a:pt x="1718" y="747"/>
                    <a:pt x="1566" y="747"/>
                  </a:cubicBezTo>
                  <a:cubicBezTo>
                    <a:pt x="276" y="747"/>
                    <a:pt x="276" y="747"/>
                    <a:pt x="276" y="747"/>
                  </a:cubicBezTo>
                  <a:cubicBezTo>
                    <a:pt x="124" y="747"/>
                    <a:pt x="0" y="597"/>
                    <a:pt x="0" y="41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842" y="0"/>
                  </a:lnTo>
                  <a:close/>
                </a:path>
              </a:pathLst>
            </a:custGeom>
            <a:solidFill>
              <a:srgbClr val="202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í$ḻíḋe">
              <a:extLst>
                <a:ext uri="{FF2B5EF4-FFF2-40B4-BE49-F238E27FC236}">
                  <a16:creationId xmlns:a16="http://schemas.microsoft.com/office/drawing/2014/main" id="{FFE04F95-5442-4E4E-8B01-3427F67F0F67}"/>
                </a:ext>
              </a:extLst>
            </p:cNvPr>
            <p:cNvSpPr/>
            <p:nvPr/>
          </p:nvSpPr>
          <p:spPr bwMode="auto">
            <a:xfrm>
              <a:off x="4024313" y="2249488"/>
              <a:ext cx="4387850" cy="3097212"/>
            </a:xfrm>
            <a:custGeom>
              <a:avLst/>
              <a:gdLst>
                <a:gd name="T0" fmla="*/ 0 w 6624"/>
                <a:gd name="T1" fmla="*/ 4343 h 4677"/>
                <a:gd name="T2" fmla="*/ 335 w 6624"/>
                <a:gd name="T3" fmla="*/ 4677 h 4677"/>
                <a:gd name="T4" fmla="*/ 6289 w 6624"/>
                <a:gd name="T5" fmla="*/ 4677 h 4677"/>
                <a:gd name="T6" fmla="*/ 6624 w 6624"/>
                <a:gd name="T7" fmla="*/ 4343 h 4677"/>
                <a:gd name="T8" fmla="*/ 6624 w 6624"/>
                <a:gd name="T9" fmla="*/ 335 h 4677"/>
                <a:gd name="T10" fmla="*/ 6289 w 6624"/>
                <a:gd name="T11" fmla="*/ 0 h 4677"/>
                <a:gd name="T12" fmla="*/ 335 w 6624"/>
                <a:gd name="T13" fmla="*/ 0 h 4677"/>
                <a:gd name="T14" fmla="*/ 0 w 6624"/>
                <a:gd name="T15" fmla="*/ 335 h 4677"/>
                <a:gd name="T16" fmla="*/ 0 w 6624"/>
                <a:gd name="T17" fmla="*/ 4343 h 4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24" h="4677">
                  <a:moveTo>
                    <a:pt x="0" y="4343"/>
                  </a:moveTo>
                  <a:cubicBezTo>
                    <a:pt x="0" y="4527"/>
                    <a:pt x="150" y="4677"/>
                    <a:pt x="335" y="4677"/>
                  </a:cubicBezTo>
                  <a:cubicBezTo>
                    <a:pt x="6289" y="4677"/>
                    <a:pt x="6289" y="4677"/>
                    <a:pt x="6289" y="4677"/>
                  </a:cubicBezTo>
                  <a:cubicBezTo>
                    <a:pt x="6474" y="4677"/>
                    <a:pt x="6624" y="4527"/>
                    <a:pt x="6624" y="4343"/>
                  </a:cubicBezTo>
                  <a:cubicBezTo>
                    <a:pt x="6624" y="335"/>
                    <a:pt x="6624" y="335"/>
                    <a:pt x="6624" y="335"/>
                  </a:cubicBezTo>
                  <a:cubicBezTo>
                    <a:pt x="6624" y="150"/>
                    <a:pt x="6474" y="0"/>
                    <a:pt x="6289" y="0"/>
                  </a:cubicBezTo>
                  <a:cubicBezTo>
                    <a:pt x="335" y="0"/>
                    <a:pt x="335" y="0"/>
                    <a:pt x="335" y="0"/>
                  </a:cubicBezTo>
                  <a:cubicBezTo>
                    <a:pt x="150" y="0"/>
                    <a:pt x="0" y="150"/>
                    <a:pt x="0" y="335"/>
                  </a:cubicBezTo>
                  <a:cubicBezTo>
                    <a:pt x="0" y="4343"/>
                    <a:pt x="0" y="4343"/>
                    <a:pt x="0" y="4343"/>
                  </a:cubicBezTo>
                </a:path>
              </a:pathLst>
            </a:custGeom>
            <a:solidFill>
              <a:srgbClr val="2A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i$1íḓê">
              <a:extLst>
                <a:ext uri="{FF2B5EF4-FFF2-40B4-BE49-F238E27FC236}">
                  <a16:creationId xmlns:a16="http://schemas.microsoft.com/office/drawing/2014/main" id="{17FF8304-8F37-4DBD-9F3E-9A2983562E14}"/>
                </a:ext>
              </a:extLst>
            </p:cNvPr>
            <p:cNvSpPr/>
            <p:nvPr/>
          </p:nvSpPr>
          <p:spPr bwMode="auto">
            <a:xfrm>
              <a:off x="5029201" y="5751513"/>
              <a:ext cx="2376488" cy="392112"/>
            </a:xfrm>
            <a:custGeom>
              <a:avLst/>
              <a:gdLst>
                <a:gd name="T0" fmla="*/ 366 w 1497"/>
                <a:gd name="T1" fmla="*/ 0 h 247"/>
                <a:gd name="T2" fmla="*/ 1132 w 1497"/>
                <a:gd name="T3" fmla="*/ 0 h 247"/>
                <a:gd name="T4" fmla="*/ 1497 w 1497"/>
                <a:gd name="T5" fmla="*/ 247 h 247"/>
                <a:gd name="T6" fmla="*/ 0 w 1497"/>
                <a:gd name="T7" fmla="*/ 247 h 247"/>
                <a:gd name="T8" fmla="*/ 366 w 1497"/>
                <a:gd name="T9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7" h="247">
                  <a:moveTo>
                    <a:pt x="366" y="0"/>
                  </a:moveTo>
                  <a:lnTo>
                    <a:pt x="1132" y="0"/>
                  </a:lnTo>
                  <a:lnTo>
                    <a:pt x="1497" y="247"/>
                  </a:lnTo>
                  <a:lnTo>
                    <a:pt x="0" y="247"/>
                  </a:lnTo>
                  <a:lnTo>
                    <a:pt x="366" y="0"/>
                  </a:lnTo>
                  <a:close/>
                </a:path>
              </a:pathLst>
            </a:custGeom>
            <a:solidFill>
              <a:srgbClr val="2A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íṥľïďe">
              <a:extLst>
                <a:ext uri="{FF2B5EF4-FFF2-40B4-BE49-F238E27FC236}">
                  <a16:creationId xmlns:a16="http://schemas.microsoft.com/office/drawing/2014/main" id="{FAA2CA9F-6CF1-4E86-8100-E9EB455AFC6B}"/>
                </a:ext>
              </a:extLst>
            </p:cNvPr>
            <p:cNvSpPr/>
            <p:nvPr/>
          </p:nvSpPr>
          <p:spPr bwMode="auto">
            <a:xfrm>
              <a:off x="4173538" y="2427288"/>
              <a:ext cx="4067175" cy="2635250"/>
            </a:xfrm>
            <a:custGeom>
              <a:avLst/>
              <a:gdLst>
                <a:gd name="T0" fmla="*/ 6116 w 6141"/>
                <a:gd name="T1" fmla="*/ 0 h 3978"/>
                <a:gd name="T2" fmla="*/ 6141 w 6141"/>
                <a:gd name="T3" fmla="*/ 25 h 3978"/>
                <a:gd name="T4" fmla="*/ 6141 w 6141"/>
                <a:gd name="T5" fmla="*/ 3953 h 3978"/>
                <a:gd name="T6" fmla="*/ 6116 w 6141"/>
                <a:gd name="T7" fmla="*/ 3978 h 3978"/>
                <a:gd name="T8" fmla="*/ 0 w 6141"/>
                <a:gd name="T9" fmla="*/ 0 h 3978"/>
                <a:gd name="T10" fmla="*/ 6116 w 6141"/>
                <a:gd name="T11" fmla="*/ 0 h 39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41" h="3978">
                  <a:moveTo>
                    <a:pt x="6116" y="0"/>
                  </a:moveTo>
                  <a:cubicBezTo>
                    <a:pt x="6130" y="0"/>
                    <a:pt x="6141" y="11"/>
                    <a:pt x="6141" y="25"/>
                  </a:cubicBezTo>
                  <a:cubicBezTo>
                    <a:pt x="6141" y="3953"/>
                    <a:pt x="6141" y="3953"/>
                    <a:pt x="6141" y="3953"/>
                  </a:cubicBezTo>
                  <a:cubicBezTo>
                    <a:pt x="6141" y="3967"/>
                    <a:pt x="6130" y="3978"/>
                    <a:pt x="6116" y="397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116" y="0"/>
                    <a:pt x="6116" y="0"/>
                    <a:pt x="611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i$ḷîďè">
              <a:extLst>
                <a:ext uri="{FF2B5EF4-FFF2-40B4-BE49-F238E27FC236}">
                  <a16:creationId xmlns:a16="http://schemas.microsoft.com/office/drawing/2014/main" id="{32E9B7EC-13EF-4FE9-8FE2-65BD335114F1}"/>
                </a:ext>
              </a:extLst>
            </p:cNvPr>
            <p:cNvSpPr/>
            <p:nvPr/>
          </p:nvSpPr>
          <p:spPr bwMode="auto">
            <a:xfrm>
              <a:off x="4141788" y="2427288"/>
              <a:ext cx="4081463" cy="2635250"/>
            </a:xfrm>
            <a:custGeom>
              <a:avLst/>
              <a:gdLst>
                <a:gd name="T0" fmla="*/ 25 w 6164"/>
                <a:gd name="T1" fmla="*/ 0 h 3978"/>
                <a:gd name="T2" fmla="*/ 48 w 6164"/>
                <a:gd name="T3" fmla="*/ 0 h 3978"/>
                <a:gd name="T4" fmla="*/ 6164 w 6164"/>
                <a:gd name="T5" fmla="*/ 3978 h 3978"/>
                <a:gd name="T6" fmla="*/ 25 w 6164"/>
                <a:gd name="T7" fmla="*/ 3978 h 3978"/>
                <a:gd name="T8" fmla="*/ 0 w 6164"/>
                <a:gd name="T9" fmla="*/ 3953 h 3978"/>
                <a:gd name="T10" fmla="*/ 0 w 6164"/>
                <a:gd name="T11" fmla="*/ 25 h 3978"/>
                <a:gd name="T12" fmla="*/ 25 w 6164"/>
                <a:gd name="T13" fmla="*/ 0 h 39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64" h="3978">
                  <a:moveTo>
                    <a:pt x="25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6164" y="3978"/>
                    <a:pt x="6164" y="3978"/>
                    <a:pt x="6164" y="3978"/>
                  </a:cubicBezTo>
                  <a:cubicBezTo>
                    <a:pt x="25" y="3978"/>
                    <a:pt x="25" y="3978"/>
                    <a:pt x="25" y="3978"/>
                  </a:cubicBezTo>
                  <a:cubicBezTo>
                    <a:pt x="11" y="3978"/>
                    <a:pt x="0" y="3967"/>
                    <a:pt x="0" y="395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</a:path>
              </a:pathLst>
            </a:custGeom>
            <a:solidFill>
              <a:srgbClr val="EAE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ïṧḷïḓè">
              <a:extLst>
                <a:ext uri="{FF2B5EF4-FFF2-40B4-BE49-F238E27FC236}">
                  <a16:creationId xmlns:a16="http://schemas.microsoft.com/office/drawing/2014/main" id="{4C975C67-8590-4179-9931-E9976B512744}"/>
                </a:ext>
              </a:extLst>
            </p:cNvPr>
            <p:cNvSpPr/>
            <p:nvPr/>
          </p:nvSpPr>
          <p:spPr bwMode="auto">
            <a:xfrm>
              <a:off x="6757988" y="1533525"/>
              <a:ext cx="1214438" cy="2033587"/>
            </a:xfrm>
            <a:custGeom>
              <a:avLst/>
              <a:gdLst>
                <a:gd name="T0" fmla="*/ 1040 w 1834"/>
                <a:gd name="T1" fmla="*/ 366 h 3069"/>
                <a:gd name="T2" fmla="*/ 1281 w 1834"/>
                <a:gd name="T3" fmla="*/ 1 h 3069"/>
                <a:gd name="T4" fmla="*/ 1283 w 1834"/>
                <a:gd name="T5" fmla="*/ 0 h 3069"/>
                <a:gd name="T6" fmla="*/ 1431 w 1834"/>
                <a:gd name="T7" fmla="*/ 0 h 3069"/>
                <a:gd name="T8" fmla="*/ 1834 w 1834"/>
                <a:gd name="T9" fmla="*/ 482 h 3069"/>
                <a:gd name="T10" fmla="*/ 1834 w 1834"/>
                <a:gd name="T11" fmla="*/ 482 h 3069"/>
                <a:gd name="T12" fmla="*/ 1834 w 1834"/>
                <a:gd name="T13" fmla="*/ 482 h 3069"/>
                <a:gd name="T14" fmla="*/ 1834 w 1834"/>
                <a:gd name="T15" fmla="*/ 3069 h 3069"/>
                <a:gd name="T16" fmla="*/ 40 w 1834"/>
                <a:gd name="T17" fmla="*/ 3069 h 3069"/>
                <a:gd name="T18" fmla="*/ 0 w 1834"/>
                <a:gd name="T19" fmla="*/ 213 h 3069"/>
                <a:gd name="T20" fmla="*/ 1040 w 1834"/>
                <a:gd name="T21" fmla="*/ 366 h 3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34" h="3069">
                  <a:moveTo>
                    <a:pt x="1040" y="366"/>
                  </a:moveTo>
                  <a:cubicBezTo>
                    <a:pt x="1083" y="69"/>
                    <a:pt x="1281" y="1"/>
                    <a:pt x="1281" y="1"/>
                  </a:cubicBezTo>
                  <a:cubicBezTo>
                    <a:pt x="1283" y="0"/>
                    <a:pt x="1283" y="0"/>
                    <a:pt x="1283" y="0"/>
                  </a:cubicBezTo>
                  <a:cubicBezTo>
                    <a:pt x="1352" y="0"/>
                    <a:pt x="1403" y="0"/>
                    <a:pt x="1431" y="0"/>
                  </a:cubicBezTo>
                  <a:cubicBezTo>
                    <a:pt x="1767" y="0"/>
                    <a:pt x="1834" y="482"/>
                    <a:pt x="1834" y="482"/>
                  </a:cubicBezTo>
                  <a:cubicBezTo>
                    <a:pt x="1834" y="482"/>
                    <a:pt x="1834" y="482"/>
                    <a:pt x="1834" y="482"/>
                  </a:cubicBezTo>
                  <a:cubicBezTo>
                    <a:pt x="1834" y="482"/>
                    <a:pt x="1834" y="482"/>
                    <a:pt x="1834" y="482"/>
                  </a:cubicBezTo>
                  <a:cubicBezTo>
                    <a:pt x="1834" y="3069"/>
                    <a:pt x="1834" y="3069"/>
                    <a:pt x="1834" y="3069"/>
                  </a:cubicBezTo>
                  <a:cubicBezTo>
                    <a:pt x="40" y="3069"/>
                    <a:pt x="40" y="3069"/>
                    <a:pt x="40" y="3069"/>
                  </a:cubicBezTo>
                  <a:cubicBezTo>
                    <a:pt x="0" y="213"/>
                    <a:pt x="0" y="213"/>
                    <a:pt x="0" y="213"/>
                  </a:cubicBezTo>
                  <a:lnTo>
                    <a:pt x="1040" y="366"/>
                  </a:lnTo>
                  <a:close/>
                </a:path>
              </a:pathLst>
            </a:custGeom>
            <a:solidFill>
              <a:srgbClr val="8CB7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şḻîḑe">
              <a:extLst>
                <a:ext uri="{FF2B5EF4-FFF2-40B4-BE49-F238E27FC236}">
                  <a16:creationId xmlns:a16="http://schemas.microsoft.com/office/drawing/2014/main" id="{0DE6CAF4-48D8-4811-93F3-41AEE9C01244}"/>
                </a:ext>
              </a:extLst>
            </p:cNvPr>
            <p:cNvSpPr/>
            <p:nvPr/>
          </p:nvSpPr>
          <p:spPr bwMode="auto">
            <a:xfrm>
              <a:off x="4703763" y="1533525"/>
              <a:ext cx="2903538" cy="3457575"/>
            </a:xfrm>
            <a:custGeom>
              <a:avLst/>
              <a:gdLst>
                <a:gd name="T0" fmla="*/ 3185 w 4383"/>
                <a:gd name="T1" fmla="*/ 4743 h 5221"/>
                <a:gd name="T2" fmla="*/ 0 w 4383"/>
                <a:gd name="T3" fmla="*/ 4743 h 5221"/>
                <a:gd name="T4" fmla="*/ 0 w 4383"/>
                <a:gd name="T5" fmla="*/ 396 h 5221"/>
                <a:gd name="T6" fmla="*/ 401 w 4383"/>
                <a:gd name="T7" fmla="*/ 0 h 5221"/>
                <a:gd name="T8" fmla="*/ 524 w 4383"/>
                <a:gd name="T9" fmla="*/ 0 h 5221"/>
                <a:gd name="T10" fmla="*/ 4128 w 4383"/>
                <a:gd name="T11" fmla="*/ 0 h 5221"/>
                <a:gd name="T12" fmla="*/ 4128 w 4383"/>
                <a:gd name="T13" fmla="*/ 0 h 5221"/>
                <a:gd name="T14" fmla="*/ 4383 w 4383"/>
                <a:gd name="T15" fmla="*/ 0 h 5221"/>
                <a:gd name="T16" fmla="*/ 4381 w 4383"/>
                <a:gd name="T17" fmla="*/ 1 h 5221"/>
                <a:gd name="T18" fmla="*/ 4132 w 4383"/>
                <a:gd name="T19" fmla="*/ 482 h 5221"/>
                <a:gd name="T20" fmla="*/ 4126 w 4383"/>
                <a:gd name="T21" fmla="*/ 482 h 5221"/>
                <a:gd name="T22" fmla="*/ 4126 w 4383"/>
                <a:gd name="T23" fmla="*/ 577 h 5221"/>
                <a:gd name="T24" fmla="*/ 4126 w 4383"/>
                <a:gd name="T25" fmla="*/ 4822 h 5221"/>
                <a:gd name="T26" fmla="*/ 4126 w 4383"/>
                <a:gd name="T27" fmla="*/ 4825 h 5221"/>
                <a:gd name="T28" fmla="*/ 3725 w 4383"/>
                <a:gd name="T29" fmla="*/ 5221 h 5221"/>
                <a:gd name="T30" fmla="*/ 3602 w 4383"/>
                <a:gd name="T31" fmla="*/ 5221 h 5221"/>
                <a:gd name="T32" fmla="*/ 3185 w 4383"/>
                <a:gd name="T33" fmla="*/ 4743 h 5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83" h="5221">
                  <a:moveTo>
                    <a:pt x="3185" y="4743"/>
                  </a:moveTo>
                  <a:cubicBezTo>
                    <a:pt x="0" y="4743"/>
                    <a:pt x="0" y="4743"/>
                    <a:pt x="0" y="4743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5" y="361"/>
                    <a:pt x="60" y="34"/>
                    <a:pt x="401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4128" y="0"/>
                    <a:pt x="4128" y="0"/>
                    <a:pt x="4128" y="0"/>
                  </a:cubicBezTo>
                  <a:cubicBezTo>
                    <a:pt x="4128" y="0"/>
                    <a:pt x="4128" y="0"/>
                    <a:pt x="4128" y="0"/>
                  </a:cubicBezTo>
                  <a:cubicBezTo>
                    <a:pt x="4228" y="0"/>
                    <a:pt x="4315" y="0"/>
                    <a:pt x="4383" y="0"/>
                  </a:cubicBezTo>
                  <a:cubicBezTo>
                    <a:pt x="4381" y="1"/>
                    <a:pt x="4381" y="1"/>
                    <a:pt x="4381" y="1"/>
                  </a:cubicBezTo>
                  <a:cubicBezTo>
                    <a:pt x="4381" y="1"/>
                    <a:pt x="4132" y="86"/>
                    <a:pt x="4132" y="482"/>
                  </a:cubicBezTo>
                  <a:cubicBezTo>
                    <a:pt x="4126" y="482"/>
                    <a:pt x="4126" y="482"/>
                    <a:pt x="4126" y="482"/>
                  </a:cubicBezTo>
                  <a:cubicBezTo>
                    <a:pt x="4126" y="577"/>
                    <a:pt x="4126" y="577"/>
                    <a:pt x="4126" y="577"/>
                  </a:cubicBezTo>
                  <a:cubicBezTo>
                    <a:pt x="4126" y="4822"/>
                    <a:pt x="4126" y="4822"/>
                    <a:pt x="4126" y="4822"/>
                  </a:cubicBezTo>
                  <a:cubicBezTo>
                    <a:pt x="4126" y="4822"/>
                    <a:pt x="4126" y="4823"/>
                    <a:pt x="4126" y="4825"/>
                  </a:cubicBezTo>
                  <a:cubicBezTo>
                    <a:pt x="4121" y="4860"/>
                    <a:pt x="4066" y="5187"/>
                    <a:pt x="3725" y="5221"/>
                  </a:cubicBezTo>
                  <a:cubicBezTo>
                    <a:pt x="3602" y="5221"/>
                    <a:pt x="3602" y="5221"/>
                    <a:pt x="3602" y="5221"/>
                  </a:cubicBezTo>
                  <a:cubicBezTo>
                    <a:pt x="3162" y="5182"/>
                    <a:pt x="3185" y="4743"/>
                    <a:pt x="3185" y="4743"/>
                  </a:cubicBezTo>
                </a:path>
              </a:pathLst>
            </a:custGeom>
            <a:solidFill>
              <a:srgbClr val="A8DE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îS1iḓé">
              <a:extLst>
                <a:ext uri="{FF2B5EF4-FFF2-40B4-BE49-F238E27FC236}">
                  <a16:creationId xmlns:a16="http://schemas.microsoft.com/office/drawing/2014/main" id="{F8C29A2F-096B-4E7E-88B2-DF76A1FF59F8}"/>
                </a:ext>
              </a:extLst>
            </p:cNvPr>
            <p:cNvSpPr/>
            <p:nvPr/>
          </p:nvSpPr>
          <p:spPr bwMode="auto">
            <a:xfrm>
              <a:off x="4173538" y="4675188"/>
              <a:ext cx="2976563" cy="333375"/>
            </a:xfrm>
            <a:custGeom>
              <a:avLst/>
              <a:gdLst>
                <a:gd name="T0" fmla="*/ 3989 w 4494"/>
                <a:gd name="T1" fmla="*/ 0 h 503"/>
                <a:gd name="T2" fmla="*/ 0 w 4494"/>
                <a:gd name="T3" fmla="*/ 0 h 503"/>
                <a:gd name="T4" fmla="*/ 403 w 4494"/>
                <a:gd name="T5" fmla="*/ 482 h 503"/>
                <a:gd name="T6" fmla="*/ 4494 w 4494"/>
                <a:gd name="T7" fmla="*/ 482 h 503"/>
                <a:gd name="T8" fmla="*/ 3989 w 4494"/>
                <a:gd name="T9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94" h="503">
                  <a:moveTo>
                    <a:pt x="39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67" y="482"/>
                    <a:pt x="403" y="482"/>
                  </a:cubicBezTo>
                  <a:cubicBezTo>
                    <a:pt x="739" y="482"/>
                    <a:pt x="4494" y="482"/>
                    <a:pt x="4494" y="482"/>
                  </a:cubicBezTo>
                  <a:cubicBezTo>
                    <a:pt x="4494" y="482"/>
                    <a:pt x="3987" y="503"/>
                    <a:pt x="3989" y="0"/>
                  </a:cubicBezTo>
                  <a:close/>
                </a:path>
              </a:pathLst>
            </a:custGeom>
            <a:solidFill>
              <a:srgbClr val="8CB7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iṥļîďê">
              <a:extLst>
                <a:ext uri="{FF2B5EF4-FFF2-40B4-BE49-F238E27FC236}">
                  <a16:creationId xmlns:a16="http://schemas.microsoft.com/office/drawing/2014/main" id="{7E4C25B1-ADD0-47F0-A766-A71D69AC5E39}"/>
                </a:ext>
              </a:extLst>
            </p:cNvPr>
            <p:cNvSpPr/>
            <p:nvPr/>
          </p:nvSpPr>
          <p:spPr bwMode="auto">
            <a:xfrm>
              <a:off x="5870576" y="1876425"/>
              <a:ext cx="1330325" cy="73025"/>
            </a:xfrm>
            <a:prstGeom prst="rect">
              <a:avLst/>
            </a:pr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íSḷïďé">
              <a:extLst>
                <a:ext uri="{FF2B5EF4-FFF2-40B4-BE49-F238E27FC236}">
                  <a16:creationId xmlns:a16="http://schemas.microsoft.com/office/drawing/2014/main" id="{F161F340-4EFD-486A-8E61-F0D63056BC0A}"/>
                </a:ext>
              </a:extLst>
            </p:cNvPr>
            <p:cNvSpPr/>
            <p:nvPr/>
          </p:nvSpPr>
          <p:spPr bwMode="auto">
            <a:xfrm>
              <a:off x="5634038" y="2093913"/>
              <a:ext cx="1330325" cy="73025"/>
            </a:xfrm>
            <a:prstGeom prst="rect">
              <a:avLst/>
            </a:pr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ṣlíḍè">
              <a:extLst>
                <a:ext uri="{FF2B5EF4-FFF2-40B4-BE49-F238E27FC236}">
                  <a16:creationId xmlns:a16="http://schemas.microsoft.com/office/drawing/2014/main" id="{00AC5EA0-9355-4156-B915-5A7C969105E6}"/>
                </a:ext>
              </a:extLst>
            </p:cNvPr>
            <p:cNvSpPr/>
            <p:nvPr/>
          </p:nvSpPr>
          <p:spPr bwMode="auto">
            <a:xfrm>
              <a:off x="5178426" y="2093913"/>
              <a:ext cx="295275" cy="73025"/>
            </a:xfrm>
            <a:prstGeom prst="rect">
              <a:avLst/>
            </a:pr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$ľîḑê">
              <a:extLst>
                <a:ext uri="{FF2B5EF4-FFF2-40B4-BE49-F238E27FC236}">
                  <a16:creationId xmlns:a16="http://schemas.microsoft.com/office/drawing/2014/main" id="{7B54E19D-93B2-4D8B-B412-D1794F94838B}"/>
                </a:ext>
              </a:extLst>
            </p:cNvPr>
            <p:cNvSpPr/>
            <p:nvPr/>
          </p:nvSpPr>
          <p:spPr bwMode="auto">
            <a:xfrm>
              <a:off x="5424488" y="2311400"/>
              <a:ext cx="1328738" cy="73025"/>
            </a:xfrm>
            <a:prstGeom prst="rect">
              <a:avLst/>
            </a:pr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ïṣḻíḋê">
              <a:extLst>
                <a:ext uri="{FF2B5EF4-FFF2-40B4-BE49-F238E27FC236}">
                  <a16:creationId xmlns:a16="http://schemas.microsoft.com/office/drawing/2014/main" id="{12736BB0-DCFF-4DDD-BD0A-D3BBD4F61C5C}"/>
                </a:ext>
              </a:extLst>
            </p:cNvPr>
            <p:cNvSpPr/>
            <p:nvPr/>
          </p:nvSpPr>
          <p:spPr bwMode="auto">
            <a:xfrm>
              <a:off x="5870576" y="2528888"/>
              <a:ext cx="1330325" cy="74612"/>
            </a:xfrm>
            <a:prstGeom prst="rect">
              <a:avLst/>
            </a:pr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işľiḑè">
              <a:extLst>
                <a:ext uri="{FF2B5EF4-FFF2-40B4-BE49-F238E27FC236}">
                  <a16:creationId xmlns:a16="http://schemas.microsoft.com/office/drawing/2014/main" id="{C569E940-FA76-4D86-9B4A-3BAE202E1EBC}"/>
                </a:ext>
              </a:extLst>
            </p:cNvPr>
            <p:cNvSpPr/>
            <p:nvPr/>
          </p:nvSpPr>
          <p:spPr bwMode="auto">
            <a:xfrm>
              <a:off x="5314951" y="2528888"/>
              <a:ext cx="450850" cy="74612"/>
            </a:xfrm>
            <a:prstGeom prst="rect">
              <a:avLst/>
            </a:pr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śḷiḍé">
              <a:extLst>
                <a:ext uri="{FF2B5EF4-FFF2-40B4-BE49-F238E27FC236}">
                  <a16:creationId xmlns:a16="http://schemas.microsoft.com/office/drawing/2014/main" id="{9799ABF4-BCFC-4997-A0D8-32CD35667B41}"/>
                </a:ext>
              </a:extLst>
            </p:cNvPr>
            <p:cNvSpPr/>
            <p:nvPr/>
          </p:nvSpPr>
          <p:spPr bwMode="auto">
            <a:xfrm>
              <a:off x="4962526" y="3603625"/>
              <a:ext cx="574675" cy="95250"/>
            </a:xfrm>
            <a:prstGeom prst="rect">
              <a:avLst/>
            </a:pr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îş1íḋe">
              <a:extLst>
                <a:ext uri="{FF2B5EF4-FFF2-40B4-BE49-F238E27FC236}">
                  <a16:creationId xmlns:a16="http://schemas.microsoft.com/office/drawing/2014/main" id="{8E505988-6F51-4081-B149-35AEEA1ADBEC}"/>
                </a:ext>
              </a:extLst>
            </p:cNvPr>
            <p:cNvSpPr/>
            <p:nvPr/>
          </p:nvSpPr>
          <p:spPr bwMode="auto">
            <a:xfrm>
              <a:off x="4962526" y="3603625"/>
              <a:ext cx="574675" cy="95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ï$ļîḓé">
              <a:extLst>
                <a:ext uri="{FF2B5EF4-FFF2-40B4-BE49-F238E27FC236}">
                  <a16:creationId xmlns:a16="http://schemas.microsoft.com/office/drawing/2014/main" id="{00B27B91-E1CC-40BA-B5EB-2043C91C7FA0}"/>
                </a:ext>
              </a:extLst>
            </p:cNvPr>
            <p:cNvSpPr/>
            <p:nvPr/>
          </p:nvSpPr>
          <p:spPr bwMode="auto">
            <a:xfrm>
              <a:off x="4975226" y="4271963"/>
              <a:ext cx="1330325" cy="73025"/>
            </a:xfrm>
            <a:prstGeom prst="rect">
              <a:avLst/>
            </a:pr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iṥḻïḓè">
              <a:extLst>
                <a:ext uri="{FF2B5EF4-FFF2-40B4-BE49-F238E27FC236}">
                  <a16:creationId xmlns:a16="http://schemas.microsoft.com/office/drawing/2014/main" id="{09761D00-EEB2-4DCB-8154-0ABD2A411F94}"/>
                </a:ext>
              </a:extLst>
            </p:cNvPr>
            <p:cNvSpPr/>
            <p:nvPr/>
          </p:nvSpPr>
          <p:spPr bwMode="auto">
            <a:xfrm>
              <a:off x="6411913" y="4271963"/>
              <a:ext cx="449263" cy="73025"/>
            </a:xfrm>
            <a:prstGeom prst="rect">
              <a:avLst/>
            </a:pr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ï$ḷïḓe">
              <a:extLst>
                <a:ext uri="{FF2B5EF4-FFF2-40B4-BE49-F238E27FC236}">
                  <a16:creationId xmlns:a16="http://schemas.microsoft.com/office/drawing/2014/main" id="{84139979-E12E-4364-83A7-D8B6AC8072F9}"/>
                </a:ext>
              </a:extLst>
            </p:cNvPr>
            <p:cNvSpPr/>
            <p:nvPr/>
          </p:nvSpPr>
          <p:spPr bwMode="auto">
            <a:xfrm>
              <a:off x="5870576" y="4489450"/>
              <a:ext cx="1330325" cy="74612"/>
            </a:xfrm>
            <a:prstGeom prst="rect">
              <a:avLst/>
            </a:pr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ś1îḑe">
              <a:extLst>
                <a:ext uri="{FF2B5EF4-FFF2-40B4-BE49-F238E27FC236}">
                  <a16:creationId xmlns:a16="http://schemas.microsoft.com/office/drawing/2014/main" id="{7AF48C57-F133-42FB-A8BF-F4E468B88A41}"/>
                </a:ext>
              </a:extLst>
            </p:cNvPr>
            <p:cNvSpPr/>
            <p:nvPr/>
          </p:nvSpPr>
          <p:spPr bwMode="auto">
            <a:xfrm>
              <a:off x="6121401" y="5138738"/>
              <a:ext cx="160338" cy="161925"/>
            </a:xfrm>
            <a:prstGeom prst="ellipse">
              <a:avLst/>
            </a:prstGeom>
            <a:solidFill>
              <a:srgbClr val="B7B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îṡḷîďé">
              <a:extLst>
                <a:ext uri="{FF2B5EF4-FFF2-40B4-BE49-F238E27FC236}">
                  <a16:creationId xmlns:a16="http://schemas.microsoft.com/office/drawing/2014/main" id="{24CB22BD-4E52-49C0-B7F0-AB15562081E1}"/>
                </a:ext>
              </a:extLst>
            </p:cNvPr>
            <p:cNvSpPr/>
            <p:nvPr/>
          </p:nvSpPr>
          <p:spPr bwMode="auto">
            <a:xfrm>
              <a:off x="7693026" y="4572000"/>
              <a:ext cx="1360488" cy="1360487"/>
            </a:xfrm>
            <a:prstGeom prst="ellipse">
              <a:avLst/>
            </a:prstGeom>
            <a:solidFill>
              <a:srgbClr val="2A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îṥľïḍe">
              <a:extLst>
                <a:ext uri="{FF2B5EF4-FFF2-40B4-BE49-F238E27FC236}">
                  <a16:creationId xmlns:a16="http://schemas.microsoft.com/office/drawing/2014/main" id="{3387CC10-36DD-4D87-95D4-6F779D203779}"/>
                </a:ext>
              </a:extLst>
            </p:cNvPr>
            <p:cNvSpPr/>
            <p:nvPr/>
          </p:nvSpPr>
          <p:spPr bwMode="auto">
            <a:xfrm>
              <a:off x="7627938" y="4505325"/>
              <a:ext cx="1490663" cy="1492250"/>
            </a:xfrm>
            <a:custGeom>
              <a:avLst/>
              <a:gdLst>
                <a:gd name="T0" fmla="*/ 1126 w 2252"/>
                <a:gd name="T1" fmla="*/ 99 h 2252"/>
                <a:gd name="T2" fmla="*/ 2153 w 2252"/>
                <a:gd name="T3" fmla="*/ 1126 h 2252"/>
                <a:gd name="T4" fmla="*/ 1126 w 2252"/>
                <a:gd name="T5" fmla="*/ 2153 h 2252"/>
                <a:gd name="T6" fmla="*/ 99 w 2252"/>
                <a:gd name="T7" fmla="*/ 1126 h 2252"/>
                <a:gd name="T8" fmla="*/ 1126 w 2252"/>
                <a:gd name="T9" fmla="*/ 99 h 2252"/>
                <a:gd name="T10" fmla="*/ 1126 w 2252"/>
                <a:gd name="T11" fmla="*/ 0 h 2252"/>
                <a:gd name="T12" fmla="*/ 688 w 2252"/>
                <a:gd name="T13" fmla="*/ 89 h 2252"/>
                <a:gd name="T14" fmla="*/ 330 w 2252"/>
                <a:gd name="T15" fmla="*/ 330 h 2252"/>
                <a:gd name="T16" fmla="*/ 89 w 2252"/>
                <a:gd name="T17" fmla="*/ 688 h 2252"/>
                <a:gd name="T18" fmla="*/ 0 w 2252"/>
                <a:gd name="T19" fmla="*/ 1126 h 2252"/>
                <a:gd name="T20" fmla="*/ 89 w 2252"/>
                <a:gd name="T21" fmla="*/ 1565 h 2252"/>
                <a:gd name="T22" fmla="*/ 330 w 2252"/>
                <a:gd name="T23" fmla="*/ 1922 h 2252"/>
                <a:gd name="T24" fmla="*/ 688 w 2252"/>
                <a:gd name="T25" fmla="*/ 2164 h 2252"/>
                <a:gd name="T26" fmla="*/ 1126 w 2252"/>
                <a:gd name="T27" fmla="*/ 2252 h 2252"/>
                <a:gd name="T28" fmla="*/ 1565 w 2252"/>
                <a:gd name="T29" fmla="*/ 2164 h 2252"/>
                <a:gd name="T30" fmla="*/ 1922 w 2252"/>
                <a:gd name="T31" fmla="*/ 1922 h 2252"/>
                <a:gd name="T32" fmla="*/ 2164 w 2252"/>
                <a:gd name="T33" fmla="*/ 1565 h 2252"/>
                <a:gd name="T34" fmla="*/ 2252 w 2252"/>
                <a:gd name="T35" fmla="*/ 1126 h 2252"/>
                <a:gd name="T36" fmla="*/ 2164 w 2252"/>
                <a:gd name="T37" fmla="*/ 688 h 2252"/>
                <a:gd name="T38" fmla="*/ 1922 w 2252"/>
                <a:gd name="T39" fmla="*/ 330 h 2252"/>
                <a:gd name="T40" fmla="*/ 1565 w 2252"/>
                <a:gd name="T41" fmla="*/ 89 h 2252"/>
                <a:gd name="T42" fmla="*/ 1126 w 2252"/>
                <a:gd name="T43" fmla="*/ 0 h 2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52" h="2252">
                  <a:moveTo>
                    <a:pt x="1126" y="99"/>
                  </a:moveTo>
                  <a:cubicBezTo>
                    <a:pt x="1693" y="99"/>
                    <a:pt x="2153" y="559"/>
                    <a:pt x="2153" y="1126"/>
                  </a:cubicBezTo>
                  <a:cubicBezTo>
                    <a:pt x="2153" y="1693"/>
                    <a:pt x="1693" y="2153"/>
                    <a:pt x="1126" y="2153"/>
                  </a:cubicBezTo>
                  <a:cubicBezTo>
                    <a:pt x="559" y="2153"/>
                    <a:pt x="99" y="1693"/>
                    <a:pt x="99" y="1126"/>
                  </a:cubicBezTo>
                  <a:cubicBezTo>
                    <a:pt x="99" y="559"/>
                    <a:pt x="559" y="99"/>
                    <a:pt x="1126" y="99"/>
                  </a:cubicBezTo>
                  <a:moveTo>
                    <a:pt x="1126" y="0"/>
                  </a:moveTo>
                  <a:cubicBezTo>
                    <a:pt x="974" y="0"/>
                    <a:pt x="827" y="30"/>
                    <a:pt x="688" y="89"/>
                  </a:cubicBezTo>
                  <a:cubicBezTo>
                    <a:pt x="554" y="146"/>
                    <a:pt x="433" y="227"/>
                    <a:pt x="330" y="330"/>
                  </a:cubicBezTo>
                  <a:cubicBezTo>
                    <a:pt x="227" y="433"/>
                    <a:pt x="146" y="554"/>
                    <a:pt x="89" y="688"/>
                  </a:cubicBezTo>
                  <a:cubicBezTo>
                    <a:pt x="30" y="827"/>
                    <a:pt x="0" y="974"/>
                    <a:pt x="0" y="1126"/>
                  </a:cubicBezTo>
                  <a:cubicBezTo>
                    <a:pt x="0" y="1278"/>
                    <a:pt x="30" y="1426"/>
                    <a:pt x="89" y="1565"/>
                  </a:cubicBezTo>
                  <a:cubicBezTo>
                    <a:pt x="146" y="1699"/>
                    <a:pt x="227" y="1819"/>
                    <a:pt x="330" y="1922"/>
                  </a:cubicBezTo>
                  <a:cubicBezTo>
                    <a:pt x="433" y="2026"/>
                    <a:pt x="554" y="2107"/>
                    <a:pt x="688" y="2164"/>
                  </a:cubicBezTo>
                  <a:cubicBezTo>
                    <a:pt x="827" y="2222"/>
                    <a:pt x="974" y="2252"/>
                    <a:pt x="1126" y="2252"/>
                  </a:cubicBezTo>
                  <a:cubicBezTo>
                    <a:pt x="1278" y="2252"/>
                    <a:pt x="1426" y="2222"/>
                    <a:pt x="1565" y="2164"/>
                  </a:cubicBezTo>
                  <a:cubicBezTo>
                    <a:pt x="1699" y="2107"/>
                    <a:pt x="1819" y="2026"/>
                    <a:pt x="1922" y="1922"/>
                  </a:cubicBezTo>
                  <a:cubicBezTo>
                    <a:pt x="2026" y="1819"/>
                    <a:pt x="2107" y="1699"/>
                    <a:pt x="2164" y="1565"/>
                  </a:cubicBezTo>
                  <a:cubicBezTo>
                    <a:pt x="2222" y="1426"/>
                    <a:pt x="2252" y="1278"/>
                    <a:pt x="2252" y="1126"/>
                  </a:cubicBezTo>
                  <a:cubicBezTo>
                    <a:pt x="2252" y="974"/>
                    <a:pt x="2222" y="827"/>
                    <a:pt x="2164" y="688"/>
                  </a:cubicBezTo>
                  <a:cubicBezTo>
                    <a:pt x="2107" y="554"/>
                    <a:pt x="2026" y="433"/>
                    <a:pt x="1922" y="330"/>
                  </a:cubicBezTo>
                  <a:cubicBezTo>
                    <a:pt x="1819" y="227"/>
                    <a:pt x="1699" y="146"/>
                    <a:pt x="1565" y="89"/>
                  </a:cubicBezTo>
                  <a:cubicBezTo>
                    <a:pt x="1426" y="30"/>
                    <a:pt x="1278" y="0"/>
                    <a:pt x="1126" y="0"/>
                  </a:cubicBezTo>
                  <a:close/>
                </a:path>
              </a:pathLst>
            </a:custGeom>
            <a:solidFill>
              <a:srgbClr val="202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íṩ1ïdê">
              <a:extLst>
                <a:ext uri="{FF2B5EF4-FFF2-40B4-BE49-F238E27FC236}">
                  <a16:creationId xmlns:a16="http://schemas.microsoft.com/office/drawing/2014/main" id="{438F847D-6FFE-4A0A-925C-335155A186EA}"/>
                </a:ext>
              </a:extLst>
            </p:cNvPr>
            <p:cNvSpPr/>
            <p:nvPr/>
          </p:nvSpPr>
          <p:spPr bwMode="auto">
            <a:xfrm>
              <a:off x="7881938" y="4775200"/>
              <a:ext cx="903288" cy="938212"/>
            </a:xfrm>
            <a:custGeom>
              <a:avLst/>
              <a:gdLst>
                <a:gd name="T0" fmla="*/ 342 w 1364"/>
                <a:gd name="T1" fmla="*/ 1185 h 1417"/>
                <a:gd name="T2" fmla="*/ 271 w 1364"/>
                <a:gd name="T3" fmla="*/ 1063 h 1417"/>
                <a:gd name="T4" fmla="*/ 199 w 1364"/>
                <a:gd name="T5" fmla="*/ 1044 h 1417"/>
                <a:gd name="T6" fmla="*/ 0 w 1364"/>
                <a:gd name="T7" fmla="*/ 1159 h 1417"/>
                <a:gd name="T8" fmla="*/ 122 w 1364"/>
                <a:gd name="T9" fmla="*/ 946 h 1417"/>
                <a:gd name="T10" fmla="*/ 316 w 1364"/>
                <a:gd name="T11" fmla="*/ 924 h 1417"/>
                <a:gd name="T12" fmla="*/ 350 w 1364"/>
                <a:gd name="T13" fmla="*/ 900 h 1417"/>
                <a:gd name="T14" fmla="*/ 649 w 1364"/>
                <a:gd name="T15" fmla="*/ 589 h 1417"/>
                <a:gd name="T16" fmla="*/ 649 w 1364"/>
                <a:gd name="T17" fmla="*/ 589 h 1417"/>
                <a:gd name="T18" fmla="*/ 859 w 1364"/>
                <a:gd name="T19" fmla="*/ 370 h 1417"/>
                <a:gd name="T20" fmla="*/ 883 w 1364"/>
                <a:gd name="T21" fmla="*/ 331 h 1417"/>
                <a:gd name="T22" fmla="*/ 995 w 1364"/>
                <a:gd name="T23" fmla="*/ 46 h 1417"/>
                <a:gd name="T24" fmla="*/ 1240 w 1364"/>
                <a:gd name="T25" fmla="*/ 46 h 1417"/>
                <a:gd name="T26" fmla="*/ 1041 w 1364"/>
                <a:gd name="T27" fmla="*/ 161 h 1417"/>
                <a:gd name="T28" fmla="*/ 1022 w 1364"/>
                <a:gd name="T29" fmla="*/ 233 h 1417"/>
                <a:gd name="T30" fmla="*/ 1092 w 1364"/>
                <a:gd name="T31" fmla="*/ 355 h 1417"/>
                <a:gd name="T32" fmla="*/ 1165 w 1364"/>
                <a:gd name="T33" fmla="*/ 374 h 1417"/>
                <a:gd name="T34" fmla="*/ 1364 w 1364"/>
                <a:gd name="T35" fmla="*/ 258 h 1417"/>
                <a:gd name="T36" fmla="*/ 1241 w 1364"/>
                <a:gd name="T37" fmla="*/ 471 h 1417"/>
                <a:gd name="T38" fmla="*/ 1048 w 1364"/>
                <a:gd name="T39" fmla="*/ 494 h 1417"/>
                <a:gd name="T40" fmla="*/ 1013 w 1364"/>
                <a:gd name="T41" fmla="*/ 518 h 1417"/>
                <a:gd name="T42" fmla="*/ 715 w 1364"/>
                <a:gd name="T43" fmla="*/ 828 h 1417"/>
                <a:gd name="T44" fmla="*/ 715 w 1364"/>
                <a:gd name="T45" fmla="*/ 828 h 1417"/>
                <a:gd name="T46" fmla="*/ 504 w 1364"/>
                <a:gd name="T47" fmla="*/ 1048 h 1417"/>
                <a:gd name="T48" fmla="*/ 481 w 1364"/>
                <a:gd name="T49" fmla="*/ 1087 h 1417"/>
                <a:gd name="T50" fmla="*/ 369 w 1364"/>
                <a:gd name="T51" fmla="*/ 1372 h 1417"/>
                <a:gd name="T52" fmla="*/ 123 w 1364"/>
                <a:gd name="T53" fmla="*/ 1372 h 1417"/>
                <a:gd name="T54" fmla="*/ 323 w 1364"/>
                <a:gd name="T55" fmla="*/ 1257 h 1417"/>
                <a:gd name="T56" fmla="*/ 342 w 1364"/>
                <a:gd name="T57" fmla="*/ 1185 h 1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64" h="1417">
                  <a:moveTo>
                    <a:pt x="342" y="1185"/>
                  </a:moveTo>
                  <a:cubicBezTo>
                    <a:pt x="271" y="1063"/>
                    <a:pt x="271" y="1063"/>
                    <a:pt x="271" y="1063"/>
                  </a:cubicBezTo>
                  <a:cubicBezTo>
                    <a:pt x="257" y="1038"/>
                    <a:pt x="224" y="1029"/>
                    <a:pt x="199" y="1044"/>
                  </a:cubicBezTo>
                  <a:cubicBezTo>
                    <a:pt x="0" y="1159"/>
                    <a:pt x="0" y="1159"/>
                    <a:pt x="0" y="1159"/>
                  </a:cubicBezTo>
                  <a:cubicBezTo>
                    <a:pt x="0" y="1075"/>
                    <a:pt x="44" y="992"/>
                    <a:pt x="122" y="946"/>
                  </a:cubicBezTo>
                  <a:cubicBezTo>
                    <a:pt x="183" y="911"/>
                    <a:pt x="253" y="905"/>
                    <a:pt x="316" y="924"/>
                  </a:cubicBezTo>
                  <a:cubicBezTo>
                    <a:pt x="328" y="918"/>
                    <a:pt x="340" y="911"/>
                    <a:pt x="350" y="900"/>
                  </a:cubicBezTo>
                  <a:cubicBezTo>
                    <a:pt x="649" y="589"/>
                    <a:pt x="649" y="589"/>
                    <a:pt x="649" y="589"/>
                  </a:cubicBezTo>
                  <a:cubicBezTo>
                    <a:pt x="649" y="589"/>
                    <a:pt x="649" y="589"/>
                    <a:pt x="649" y="589"/>
                  </a:cubicBezTo>
                  <a:cubicBezTo>
                    <a:pt x="859" y="370"/>
                    <a:pt x="859" y="370"/>
                    <a:pt x="859" y="370"/>
                  </a:cubicBezTo>
                  <a:cubicBezTo>
                    <a:pt x="871" y="359"/>
                    <a:pt x="878" y="345"/>
                    <a:pt x="883" y="331"/>
                  </a:cubicBezTo>
                  <a:cubicBezTo>
                    <a:pt x="850" y="224"/>
                    <a:pt x="893" y="105"/>
                    <a:pt x="995" y="46"/>
                  </a:cubicBezTo>
                  <a:cubicBezTo>
                    <a:pt x="1073" y="0"/>
                    <a:pt x="1167" y="3"/>
                    <a:pt x="1240" y="46"/>
                  </a:cubicBezTo>
                  <a:cubicBezTo>
                    <a:pt x="1041" y="161"/>
                    <a:pt x="1041" y="161"/>
                    <a:pt x="1041" y="161"/>
                  </a:cubicBezTo>
                  <a:cubicBezTo>
                    <a:pt x="1016" y="176"/>
                    <a:pt x="1007" y="208"/>
                    <a:pt x="1022" y="233"/>
                  </a:cubicBezTo>
                  <a:cubicBezTo>
                    <a:pt x="1092" y="355"/>
                    <a:pt x="1092" y="355"/>
                    <a:pt x="1092" y="355"/>
                  </a:cubicBezTo>
                  <a:cubicBezTo>
                    <a:pt x="1107" y="380"/>
                    <a:pt x="1139" y="389"/>
                    <a:pt x="1165" y="374"/>
                  </a:cubicBezTo>
                  <a:cubicBezTo>
                    <a:pt x="1364" y="258"/>
                    <a:pt x="1364" y="258"/>
                    <a:pt x="1364" y="258"/>
                  </a:cubicBezTo>
                  <a:cubicBezTo>
                    <a:pt x="1364" y="343"/>
                    <a:pt x="1320" y="426"/>
                    <a:pt x="1241" y="471"/>
                  </a:cubicBezTo>
                  <a:cubicBezTo>
                    <a:pt x="1180" y="507"/>
                    <a:pt x="1111" y="513"/>
                    <a:pt x="1048" y="494"/>
                  </a:cubicBezTo>
                  <a:cubicBezTo>
                    <a:pt x="1035" y="500"/>
                    <a:pt x="1023" y="507"/>
                    <a:pt x="1013" y="518"/>
                  </a:cubicBezTo>
                  <a:cubicBezTo>
                    <a:pt x="715" y="828"/>
                    <a:pt x="715" y="828"/>
                    <a:pt x="715" y="828"/>
                  </a:cubicBezTo>
                  <a:cubicBezTo>
                    <a:pt x="715" y="828"/>
                    <a:pt x="715" y="828"/>
                    <a:pt x="715" y="828"/>
                  </a:cubicBezTo>
                  <a:cubicBezTo>
                    <a:pt x="504" y="1048"/>
                    <a:pt x="504" y="1048"/>
                    <a:pt x="504" y="1048"/>
                  </a:cubicBezTo>
                  <a:cubicBezTo>
                    <a:pt x="493" y="1059"/>
                    <a:pt x="485" y="1072"/>
                    <a:pt x="481" y="1087"/>
                  </a:cubicBezTo>
                  <a:cubicBezTo>
                    <a:pt x="514" y="1194"/>
                    <a:pt x="470" y="1313"/>
                    <a:pt x="369" y="1372"/>
                  </a:cubicBezTo>
                  <a:cubicBezTo>
                    <a:pt x="290" y="1417"/>
                    <a:pt x="197" y="1414"/>
                    <a:pt x="123" y="1372"/>
                  </a:cubicBezTo>
                  <a:cubicBezTo>
                    <a:pt x="323" y="1257"/>
                    <a:pt x="323" y="1257"/>
                    <a:pt x="323" y="1257"/>
                  </a:cubicBezTo>
                  <a:cubicBezTo>
                    <a:pt x="348" y="1242"/>
                    <a:pt x="356" y="1210"/>
                    <a:pt x="342" y="1185"/>
                  </a:cubicBezTo>
                  <a:close/>
                </a:path>
              </a:pathLst>
            </a:custGeom>
            <a:solidFill>
              <a:srgbClr val="DFDF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şļídè">
              <a:extLst>
                <a:ext uri="{FF2B5EF4-FFF2-40B4-BE49-F238E27FC236}">
                  <a16:creationId xmlns:a16="http://schemas.microsoft.com/office/drawing/2014/main" id="{2C6303B4-3FDD-4756-B7C7-3FC628134114}"/>
                </a:ext>
              </a:extLst>
            </p:cNvPr>
            <p:cNvSpPr/>
            <p:nvPr/>
          </p:nvSpPr>
          <p:spPr bwMode="auto">
            <a:xfrm>
              <a:off x="7904163" y="4770438"/>
              <a:ext cx="588963" cy="590550"/>
            </a:xfrm>
            <a:custGeom>
              <a:avLst/>
              <a:gdLst>
                <a:gd name="T0" fmla="*/ 0 w 890"/>
                <a:gd name="T1" fmla="*/ 87 h 890"/>
                <a:gd name="T2" fmla="*/ 86 w 890"/>
                <a:gd name="T3" fmla="*/ 0 h 890"/>
                <a:gd name="T4" fmla="*/ 231 w 890"/>
                <a:gd name="T5" fmla="*/ 59 h 890"/>
                <a:gd name="T6" fmla="*/ 290 w 890"/>
                <a:gd name="T7" fmla="*/ 204 h 890"/>
                <a:gd name="T8" fmla="*/ 862 w 890"/>
                <a:gd name="T9" fmla="*/ 777 h 890"/>
                <a:gd name="T10" fmla="*/ 866 w 890"/>
                <a:gd name="T11" fmla="*/ 867 h 890"/>
                <a:gd name="T12" fmla="*/ 776 w 890"/>
                <a:gd name="T13" fmla="*/ 863 h 890"/>
                <a:gd name="T14" fmla="*/ 203 w 890"/>
                <a:gd name="T15" fmla="*/ 290 h 890"/>
                <a:gd name="T16" fmla="*/ 59 w 890"/>
                <a:gd name="T17" fmla="*/ 231 h 890"/>
                <a:gd name="T18" fmla="*/ 0 w 890"/>
                <a:gd name="T19" fmla="*/ 87 h 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0" h="890">
                  <a:moveTo>
                    <a:pt x="0" y="8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90" y="204"/>
                    <a:pt x="290" y="204"/>
                    <a:pt x="290" y="204"/>
                  </a:cubicBezTo>
                  <a:cubicBezTo>
                    <a:pt x="862" y="777"/>
                    <a:pt x="862" y="777"/>
                    <a:pt x="862" y="777"/>
                  </a:cubicBezTo>
                  <a:cubicBezTo>
                    <a:pt x="888" y="802"/>
                    <a:pt x="890" y="843"/>
                    <a:pt x="866" y="867"/>
                  </a:cubicBezTo>
                  <a:cubicBezTo>
                    <a:pt x="842" y="890"/>
                    <a:pt x="802" y="889"/>
                    <a:pt x="776" y="863"/>
                  </a:cubicBezTo>
                  <a:cubicBezTo>
                    <a:pt x="203" y="290"/>
                    <a:pt x="203" y="290"/>
                    <a:pt x="203" y="290"/>
                  </a:cubicBezTo>
                  <a:cubicBezTo>
                    <a:pt x="59" y="231"/>
                    <a:pt x="59" y="231"/>
                    <a:pt x="59" y="231"/>
                  </a:cubicBezTo>
                  <a:lnTo>
                    <a:pt x="0" y="87"/>
                  </a:lnTo>
                  <a:close/>
                </a:path>
              </a:pathLst>
            </a:custGeom>
            <a:solidFill>
              <a:srgbClr val="676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š1ïdê">
              <a:extLst>
                <a:ext uri="{FF2B5EF4-FFF2-40B4-BE49-F238E27FC236}">
                  <a16:creationId xmlns:a16="http://schemas.microsoft.com/office/drawing/2014/main" id="{30AA254C-8A24-4131-B0C0-F3DDAA087B52}"/>
                </a:ext>
              </a:extLst>
            </p:cNvPr>
            <p:cNvSpPr/>
            <p:nvPr/>
          </p:nvSpPr>
          <p:spPr bwMode="auto">
            <a:xfrm>
              <a:off x="8378826" y="5245100"/>
              <a:ext cx="492125" cy="495300"/>
            </a:xfrm>
            <a:custGeom>
              <a:avLst/>
              <a:gdLst>
                <a:gd name="T0" fmla="*/ 488 w 745"/>
                <a:gd name="T1" fmla="*/ 704 h 746"/>
                <a:gd name="T2" fmla="*/ 623 w 745"/>
                <a:gd name="T3" fmla="*/ 710 h 746"/>
                <a:gd name="T4" fmla="*/ 709 w 745"/>
                <a:gd name="T5" fmla="*/ 624 h 746"/>
                <a:gd name="T6" fmla="*/ 703 w 745"/>
                <a:gd name="T7" fmla="*/ 489 h 746"/>
                <a:gd name="T8" fmla="*/ 257 w 745"/>
                <a:gd name="T9" fmla="*/ 42 h 746"/>
                <a:gd name="T10" fmla="*/ 121 w 745"/>
                <a:gd name="T11" fmla="*/ 36 h 746"/>
                <a:gd name="T12" fmla="*/ 35 w 745"/>
                <a:gd name="T13" fmla="*/ 122 h 746"/>
                <a:gd name="T14" fmla="*/ 41 w 745"/>
                <a:gd name="T15" fmla="*/ 257 h 746"/>
                <a:gd name="T16" fmla="*/ 488 w 745"/>
                <a:gd name="T17" fmla="*/ 704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5" h="746">
                  <a:moveTo>
                    <a:pt x="488" y="704"/>
                  </a:moveTo>
                  <a:cubicBezTo>
                    <a:pt x="527" y="743"/>
                    <a:pt x="588" y="746"/>
                    <a:pt x="623" y="710"/>
                  </a:cubicBezTo>
                  <a:cubicBezTo>
                    <a:pt x="709" y="624"/>
                    <a:pt x="709" y="624"/>
                    <a:pt x="709" y="624"/>
                  </a:cubicBezTo>
                  <a:cubicBezTo>
                    <a:pt x="745" y="588"/>
                    <a:pt x="742" y="528"/>
                    <a:pt x="703" y="489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18" y="3"/>
                    <a:pt x="157" y="0"/>
                    <a:pt x="121" y="36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0" y="158"/>
                    <a:pt x="2" y="218"/>
                    <a:pt x="41" y="257"/>
                  </a:cubicBezTo>
                  <a:lnTo>
                    <a:pt x="488" y="704"/>
                  </a:lnTo>
                  <a:close/>
                </a:path>
              </a:pathLst>
            </a:custGeom>
            <a:solidFill>
              <a:srgbClr val="F37A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sļíďè">
              <a:extLst>
                <a:ext uri="{FF2B5EF4-FFF2-40B4-BE49-F238E27FC236}">
                  <a16:creationId xmlns:a16="http://schemas.microsoft.com/office/drawing/2014/main" id="{EEC7032F-05D0-45B7-B506-A8EFFD1428F8}"/>
                </a:ext>
              </a:extLst>
            </p:cNvPr>
            <p:cNvSpPr/>
            <p:nvPr/>
          </p:nvSpPr>
          <p:spPr bwMode="auto">
            <a:xfrm>
              <a:off x="8501063" y="5283200"/>
              <a:ext cx="333375" cy="333375"/>
            </a:xfrm>
            <a:custGeom>
              <a:avLst/>
              <a:gdLst>
                <a:gd name="T0" fmla="*/ 408 w 502"/>
                <a:gd name="T1" fmla="*/ 452 h 502"/>
                <a:gd name="T2" fmla="*/ 477 w 502"/>
                <a:gd name="T3" fmla="*/ 495 h 502"/>
                <a:gd name="T4" fmla="*/ 495 w 502"/>
                <a:gd name="T5" fmla="*/ 478 h 502"/>
                <a:gd name="T6" fmla="*/ 451 w 502"/>
                <a:gd name="T7" fmla="*/ 409 h 502"/>
                <a:gd name="T8" fmla="*/ 94 w 502"/>
                <a:gd name="T9" fmla="*/ 51 h 502"/>
                <a:gd name="T10" fmla="*/ 24 w 502"/>
                <a:gd name="T11" fmla="*/ 8 h 502"/>
                <a:gd name="T12" fmla="*/ 7 w 502"/>
                <a:gd name="T13" fmla="*/ 25 h 502"/>
                <a:gd name="T14" fmla="*/ 51 w 502"/>
                <a:gd name="T15" fmla="*/ 94 h 502"/>
                <a:gd name="T16" fmla="*/ 408 w 502"/>
                <a:gd name="T17" fmla="*/ 45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2" h="502">
                  <a:moveTo>
                    <a:pt x="408" y="452"/>
                  </a:moveTo>
                  <a:cubicBezTo>
                    <a:pt x="439" y="483"/>
                    <a:pt x="470" y="502"/>
                    <a:pt x="477" y="495"/>
                  </a:cubicBezTo>
                  <a:cubicBezTo>
                    <a:pt x="495" y="478"/>
                    <a:pt x="495" y="478"/>
                    <a:pt x="495" y="478"/>
                  </a:cubicBezTo>
                  <a:cubicBezTo>
                    <a:pt x="502" y="471"/>
                    <a:pt x="482" y="440"/>
                    <a:pt x="451" y="409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63" y="20"/>
                    <a:pt x="31" y="0"/>
                    <a:pt x="24" y="8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0" y="32"/>
                    <a:pt x="20" y="63"/>
                    <a:pt x="51" y="94"/>
                  </a:cubicBezTo>
                  <a:lnTo>
                    <a:pt x="408" y="452"/>
                  </a:lnTo>
                  <a:close/>
                </a:path>
              </a:pathLst>
            </a:custGeom>
            <a:solidFill>
              <a:srgbClr val="F7A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ïśļíde">
              <a:extLst>
                <a:ext uri="{FF2B5EF4-FFF2-40B4-BE49-F238E27FC236}">
                  <a16:creationId xmlns:a16="http://schemas.microsoft.com/office/drawing/2014/main" id="{3F9B2C2D-20DB-49BA-8BF1-B4DB643BF5DC}"/>
                </a:ext>
              </a:extLst>
            </p:cNvPr>
            <p:cNvSpPr/>
            <p:nvPr/>
          </p:nvSpPr>
          <p:spPr bwMode="auto">
            <a:xfrm>
              <a:off x="8415338" y="5368925"/>
              <a:ext cx="333375" cy="331787"/>
            </a:xfrm>
            <a:custGeom>
              <a:avLst/>
              <a:gdLst>
                <a:gd name="T0" fmla="*/ 408 w 502"/>
                <a:gd name="T1" fmla="*/ 451 h 501"/>
                <a:gd name="T2" fmla="*/ 477 w 502"/>
                <a:gd name="T3" fmla="*/ 494 h 501"/>
                <a:gd name="T4" fmla="*/ 495 w 502"/>
                <a:gd name="T5" fmla="*/ 477 h 501"/>
                <a:gd name="T6" fmla="*/ 451 w 502"/>
                <a:gd name="T7" fmla="*/ 408 h 501"/>
                <a:gd name="T8" fmla="*/ 94 w 502"/>
                <a:gd name="T9" fmla="*/ 50 h 501"/>
                <a:gd name="T10" fmla="*/ 24 w 502"/>
                <a:gd name="T11" fmla="*/ 7 h 501"/>
                <a:gd name="T12" fmla="*/ 7 w 502"/>
                <a:gd name="T13" fmla="*/ 24 h 501"/>
                <a:gd name="T14" fmla="*/ 50 w 502"/>
                <a:gd name="T15" fmla="*/ 93 h 501"/>
                <a:gd name="T16" fmla="*/ 408 w 502"/>
                <a:gd name="T17" fmla="*/ 451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2" h="501">
                  <a:moveTo>
                    <a:pt x="408" y="451"/>
                  </a:moveTo>
                  <a:cubicBezTo>
                    <a:pt x="439" y="482"/>
                    <a:pt x="470" y="501"/>
                    <a:pt x="477" y="494"/>
                  </a:cubicBezTo>
                  <a:cubicBezTo>
                    <a:pt x="495" y="477"/>
                    <a:pt x="495" y="477"/>
                    <a:pt x="495" y="477"/>
                  </a:cubicBezTo>
                  <a:cubicBezTo>
                    <a:pt x="502" y="470"/>
                    <a:pt x="482" y="439"/>
                    <a:pt x="451" y="408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62" y="19"/>
                    <a:pt x="31" y="0"/>
                    <a:pt x="24" y="7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0" y="31"/>
                    <a:pt x="19" y="62"/>
                    <a:pt x="50" y="93"/>
                  </a:cubicBezTo>
                  <a:lnTo>
                    <a:pt x="408" y="451"/>
                  </a:lnTo>
                  <a:close/>
                </a:path>
              </a:pathLst>
            </a:custGeom>
            <a:solidFill>
              <a:srgbClr val="F7A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Sḷîḑè">
              <a:extLst>
                <a:ext uri="{FF2B5EF4-FFF2-40B4-BE49-F238E27FC236}">
                  <a16:creationId xmlns:a16="http://schemas.microsoft.com/office/drawing/2014/main" id="{59FE9775-FBF0-48D6-831C-6D0BA6E83895}"/>
                </a:ext>
              </a:extLst>
            </p:cNvPr>
            <p:cNvSpPr/>
            <p:nvPr/>
          </p:nvSpPr>
          <p:spPr bwMode="auto">
            <a:xfrm>
              <a:off x="8458201" y="5326063"/>
              <a:ext cx="333375" cy="333375"/>
            </a:xfrm>
            <a:custGeom>
              <a:avLst/>
              <a:gdLst>
                <a:gd name="T0" fmla="*/ 409 w 502"/>
                <a:gd name="T1" fmla="*/ 451 h 502"/>
                <a:gd name="T2" fmla="*/ 478 w 502"/>
                <a:gd name="T3" fmla="*/ 495 h 502"/>
                <a:gd name="T4" fmla="*/ 495 w 502"/>
                <a:gd name="T5" fmla="*/ 477 h 502"/>
                <a:gd name="T6" fmla="*/ 452 w 502"/>
                <a:gd name="T7" fmla="*/ 408 h 502"/>
                <a:gd name="T8" fmla="*/ 94 w 502"/>
                <a:gd name="T9" fmla="*/ 51 h 502"/>
                <a:gd name="T10" fmla="*/ 25 w 502"/>
                <a:gd name="T11" fmla="*/ 7 h 502"/>
                <a:gd name="T12" fmla="*/ 8 w 502"/>
                <a:gd name="T13" fmla="*/ 24 h 502"/>
                <a:gd name="T14" fmla="*/ 51 w 502"/>
                <a:gd name="T15" fmla="*/ 94 h 502"/>
                <a:gd name="T16" fmla="*/ 409 w 502"/>
                <a:gd name="T17" fmla="*/ 451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2" h="502">
                  <a:moveTo>
                    <a:pt x="409" y="451"/>
                  </a:moveTo>
                  <a:cubicBezTo>
                    <a:pt x="440" y="482"/>
                    <a:pt x="471" y="502"/>
                    <a:pt x="478" y="495"/>
                  </a:cubicBezTo>
                  <a:cubicBezTo>
                    <a:pt x="495" y="477"/>
                    <a:pt x="495" y="477"/>
                    <a:pt x="495" y="477"/>
                  </a:cubicBezTo>
                  <a:cubicBezTo>
                    <a:pt x="502" y="470"/>
                    <a:pt x="483" y="439"/>
                    <a:pt x="452" y="408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63" y="20"/>
                    <a:pt x="32" y="0"/>
                    <a:pt x="25" y="7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0" y="32"/>
                    <a:pt x="20" y="63"/>
                    <a:pt x="51" y="94"/>
                  </a:cubicBezTo>
                  <a:lnTo>
                    <a:pt x="409" y="451"/>
                  </a:lnTo>
                  <a:close/>
                </a:path>
              </a:pathLst>
            </a:custGeom>
            <a:solidFill>
              <a:srgbClr val="F7A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ṩliḋé">
              <a:extLst>
                <a:ext uri="{FF2B5EF4-FFF2-40B4-BE49-F238E27FC236}">
                  <a16:creationId xmlns:a16="http://schemas.microsoft.com/office/drawing/2014/main" id="{B696073F-11FE-4E09-88B5-6BE4A26F0769}"/>
                </a:ext>
              </a:extLst>
            </p:cNvPr>
            <p:cNvSpPr/>
            <p:nvPr/>
          </p:nvSpPr>
          <p:spPr bwMode="auto">
            <a:xfrm>
              <a:off x="5907088" y="2746375"/>
              <a:ext cx="982663" cy="74612"/>
            </a:xfrm>
            <a:custGeom>
              <a:avLst/>
              <a:gdLst>
                <a:gd name="T0" fmla="*/ 619 w 619"/>
                <a:gd name="T1" fmla="*/ 0 h 47"/>
                <a:gd name="T2" fmla="*/ 0 w 619"/>
                <a:gd name="T3" fmla="*/ 0 h 47"/>
                <a:gd name="T4" fmla="*/ 59 w 619"/>
                <a:gd name="T5" fmla="*/ 47 h 47"/>
                <a:gd name="T6" fmla="*/ 619 w 619"/>
                <a:gd name="T7" fmla="*/ 47 h 47"/>
                <a:gd name="T8" fmla="*/ 619 w 619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47">
                  <a:moveTo>
                    <a:pt x="619" y="0"/>
                  </a:moveTo>
                  <a:lnTo>
                    <a:pt x="0" y="0"/>
                  </a:lnTo>
                  <a:lnTo>
                    <a:pt x="59" y="47"/>
                  </a:lnTo>
                  <a:lnTo>
                    <a:pt x="619" y="47"/>
                  </a:lnTo>
                  <a:lnTo>
                    <a:pt x="619" y="0"/>
                  </a:lnTo>
                  <a:close/>
                </a:path>
              </a:pathLst>
            </a:cu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îslíḓe">
              <a:extLst>
                <a:ext uri="{FF2B5EF4-FFF2-40B4-BE49-F238E27FC236}">
                  <a16:creationId xmlns:a16="http://schemas.microsoft.com/office/drawing/2014/main" id="{A9427E9E-0E84-4CD8-B04F-37B77D6BFE83}"/>
                </a:ext>
              </a:extLst>
            </p:cNvPr>
            <p:cNvSpPr/>
            <p:nvPr/>
          </p:nvSpPr>
          <p:spPr bwMode="auto">
            <a:xfrm>
              <a:off x="5522913" y="2747963"/>
              <a:ext cx="565150" cy="95250"/>
            </a:xfrm>
            <a:custGeom>
              <a:avLst/>
              <a:gdLst>
                <a:gd name="T0" fmla="*/ 0 w 356"/>
                <a:gd name="T1" fmla="*/ 0 h 60"/>
                <a:gd name="T2" fmla="*/ 0 w 356"/>
                <a:gd name="T3" fmla="*/ 60 h 60"/>
                <a:gd name="T4" fmla="*/ 356 w 356"/>
                <a:gd name="T5" fmla="*/ 60 h 60"/>
                <a:gd name="T6" fmla="*/ 280 w 356"/>
                <a:gd name="T7" fmla="*/ 0 h 60"/>
                <a:gd name="T8" fmla="*/ 0 w 35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6" h="60">
                  <a:moveTo>
                    <a:pt x="0" y="0"/>
                  </a:moveTo>
                  <a:lnTo>
                    <a:pt x="0" y="60"/>
                  </a:lnTo>
                  <a:lnTo>
                    <a:pt x="356" y="60"/>
                  </a:lnTo>
                  <a:lnTo>
                    <a:pt x="28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ṧľíďè">
              <a:extLst>
                <a:ext uri="{FF2B5EF4-FFF2-40B4-BE49-F238E27FC236}">
                  <a16:creationId xmlns:a16="http://schemas.microsoft.com/office/drawing/2014/main" id="{996B211F-A486-45EA-B20E-7F11FA83FD76}"/>
                </a:ext>
              </a:extLst>
            </p:cNvPr>
            <p:cNvSpPr/>
            <p:nvPr/>
          </p:nvSpPr>
          <p:spPr bwMode="auto">
            <a:xfrm>
              <a:off x="5522913" y="2747963"/>
              <a:ext cx="565150" cy="95250"/>
            </a:xfrm>
            <a:custGeom>
              <a:avLst/>
              <a:gdLst>
                <a:gd name="T0" fmla="*/ 0 w 356"/>
                <a:gd name="T1" fmla="*/ 0 h 60"/>
                <a:gd name="T2" fmla="*/ 0 w 356"/>
                <a:gd name="T3" fmla="*/ 60 h 60"/>
                <a:gd name="T4" fmla="*/ 356 w 356"/>
                <a:gd name="T5" fmla="*/ 60 h 60"/>
                <a:gd name="T6" fmla="*/ 280 w 356"/>
                <a:gd name="T7" fmla="*/ 0 h 60"/>
                <a:gd name="T8" fmla="*/ 0 w 35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6" h="60">
                  <a:moveTo>
                    <a:pt x="0" y="0"/>
                  </a:moveTo>
                  <a:lnTo>
                    <a:pt x="0" y="60"/>
                  </a:lnTo>
                  <a:lnTo>
                    <a:pt x="356" y="60"/>
                  </a:lnTo>
                  <a:lnTo>
                    <a:pt x="28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îşľîďê">
              <a:extLst>
                <a:ext uri="{FF2B5EF4-FFF2-40B4-BE49-F238E27FC236}">
                  <a16:creationId xmlns:a16="http://schemas.microsoft.com/office/drawing/2014/main" id="{C2F776CC-051A-4F82-9340-BDADC1DD346D}"/>
                </a:ext>
              </a:extLst>
            </p:cNvPr>
            <p:cNvSpPr/>
            <p:nvPr/>
          </p:nvSpPr>
          <p:spPr bwMode="auto">
            <a:xfrm>
              <a:off x="6130926" y="2963863"/>
              <a:ext cx="498475" cy="74612"/>
            </a:xfrm>
            <a:custGeom>
              <a:avLst/>
              <a:gdLst>
                <a:gd name="T0" fmla="*/ 314 w 314"/>
                <a:gd name="T1" fmla="*/ 0 h 47"/>
                <a:gd name="T2" fmla="*/ 0 w 314"/>
                <a:gd name="T3" fmla="*/ 0 h 47"/>
                <a:gd name="T4" fmla="*/ 9 w 314"/>
                <a:gd name="T5" fmla="*/ 23 h 47"/>
                <a:gd name="T6" fmla="*/ 24 w 314"/>
                <a:gd name="T7" fmla="*/ 47 h 47"/>
                <a:gd name="T8" fmla="*/ 314 w 314"/>
                <a:gd name="T9" fmla="*/ 47 h 47"/>
                <a:gd name="T10" fmla="*/ 314 w 314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4" h="47">
                  <a:moveTo>
                    <a:pt x="314" y="0"/>
                  </a:moveTo>
                  <a:lnTo>
                    <a:pt x="0" y="0"/>
                  </a:lnTo>
                  <a:lnTo>
                    <a:pt x="9" y="23"/>
                  </a:lnTo>
                  <a:lnTo>
                    <a:pt x="24" y="47"/>
                  </a:lnTo>
                  <a:lnTo>
                    <a:pt x="314" y="47"/>
                  </a:lnTo>
                  <a:lnTo>
                    <a:pt x="314" y="0"/>
                  </a:lnTo>
                  <a:close/>
                </a:path>
              </a:pathLst>
            </a:cu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í$ḻíḑe">
              <a:extLst>
                <a:ext uri="{FF2B5EF4-FFF2-40B4-BE49-F238E27FC236}">
                  <a16:creationId xmlns:a16="http://schemas.microsoft.com/office/drawing/2014/main" id="{C3925849-3F66-4650-B84A-19424149AE03}"/>
                </a:ext>
              </a:extLst>
            </p:cNvPr>
            <p:cNvSpPr/>
            <p:nvPr/>
          </p:nvSpPr>
          <p:spPr bwMode="auto">
            <a:xfrm>
              <a:off x="5908676" y="2973388"/>
              <a:ext cx="285750" cy="93662"/>
            </a:xfrm>
            <a:custGeom>
              <a:avLst/>
              <a:gdLst>
                <a:gd name="T0" fmla="*/ 149 w 180"/>
                <a:gd name="T1" fmla="*/ 0 h 59"/>
                <a:gd name="T2" fmla="*/ 0 w 180"/>
                <a:gd name="T3" fmla="*/ 0 h 59"/>
                <a:gd name="T4" fmla="*/ 0 w 180"/>
                <a:gd name="T5" fmla="*/ 59 h 59"/>
                <a:gd name="T6" fmla="*/ 180 w 180"/>
                <a:gd name="T7" fmla="*/ 59 h 59"/>
                <a:gd name="T8" fmla="*/ 161 w 180"/>
                <a:gd name="T9" fmla="*/ 29 h 59"/>
                <a:gd name="T10" fmla="*/ 149 w 180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0" h="59">
                  <a:moveTo>
                    <a:pt x="149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180" y="59"/>
                  </a:lnTo>
                  <a:lnTo>
                    <a:pt x="161" y="29"/>
                  </a:lnTo>
                  <a:lnTo>
                    <a:pt x="149" y="0"/>
                  </a:lnTo>
                  <a:close/>
                </a:path>
              </a:pathLst>
            </a:cu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îśľïdé">
              <a:extLst>
                <a:ext uri="{FF2B5EF4-FFF2-40B4-BE49-F238E27FC236}">
                  <a16:creationId xmlns:a16="http://schemas.microsoft.com/office/drawing/2014/main" id="{42F294B7-70DD-421F-B911-EAAE5AD71BF7}"/>
                </a:ext>
              </a:extLst>
            </p:cNvPr>
            <p:cNvSpPr/>
            <p:nvPr/>
          </p:nvSpPr>
          <p:spPr bwMode="auto">
            <a:xfrm>
              <a:off x="5908676" y="2973388"/>
              <a:ext cx="285750" cy="93662"/>
            </a:xfrm>
            <a:custGeom>
              <a:avLst/>
              <a:gdLst>
                <a:gd name="T0" fmla="*/ 149 w 180"/>
                <a:gd name="T1" fmla="*/ 0 h 59"/>
                <a:gd name="T2" fmla="*/ 0 w 180"/>
                <a:gd name="T3" fmla="*/ 0 h 59"/>
                <a:gd name="T4" fmla="*/ 0 w 180"/>
                <a:gd name="T5" fmla="*/ 59 h 59"/>
                <a:gd name="T6" fmla="*/ 180 w 180"/>
                <a:gd name="T7" fmla="*/ 59 h 59"/>
                <a:gd name="T8" fmla="*/ 161 w 180"/>
                <a:gd name="T9" fmla="*/ 29 h 59"/>
                <a:gd name="T10" fmla="*/ 149 w 180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0" h="59">
                  <a:moveTo>
                    <a:pt x="149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180" y="59"/>
                  </a:lnTo>
                  <a:lnTo>
                    <a:pt x="161" y="29"/>
                  </a:lnTo>
                  <a:lnTo>
                    <a:pt x="14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îŝḻiḓê">
              <a:extLst>
                <a:ext uri="{FF2B5EF4-FFF2-40B4-BE49-F238E27FC236}">
                  <a16:creationId xmlns:a16="http://schemas.microsoft.com/office/drawing/2014/main" id="{58AD90B4-862E-4C93-8850-288E5A52FE26}"/>
                </a:ext>
              </a:extLst>
            </p:cNvPr>
            <p:cNvSpPr/>
            <p:nvPr/>
          </p:nvSpPr>
          <p:spPr bwMode="auto">
            <a:xfrm>
              <a:off x="5476876" y="3171825"/>
              <a:ext cx="887413" cy="93662"/>
            </a:xfrm>
            <a:custGeom>
              <a:avLst/>
              <a:gdLst>
                <a:gd name="T0" fmla="*/ 0 w 559"/>
                <a:gd name="T1" fmla="*/ 0 h 59"/>
                <a:gd name="T2" fmla="*/ 0 w 559"/>
                <a:gd name="T3" fmla="*/ 59 h 59"/>
                <a:gd name="T4" fmla="*/ 559 w 559"/>
                <a:gd name="T5" fmla="*/ 59 h 59"/>
                <a:gd name="T6" fmla="*/ 550 w 559"/>
                <a:gd name="T7" fmla="*/ 0 h 59"/>
                <a:gd name="T8" fmla="*/ 0 w 559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9" h="59">
                  <a:moveTo>
                    <a:pt x="0" y="0"/>
                  </a:moveTo>
                  <a:lnTo>
                    <a:pt x="0" y="59"/>
                  </a:lnTo>
                  <a:lnTo>
                    <a:pt x="559" y="59"/>
                  </a:lnTo>
                  <a:lnTo>
                    <a:pt x="55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ṩļîďè">
              <a:extLst>
                <a:ext uri="{FF2B5EF4-FFF2-40B4-BE49-F238E27FC236}">
                  <a16:creationId xmlns:a16="http://schemas.microsoft.com/office/drawing/2014/main" id="{657DEA1D-1FD7-4FEB-B74F-29FAABCC52EF}"/>
                </a:ext>
              </a:extLst>
            </p:cNvPr>
            <p:cNvSpPr/>
            <p:nvPr/>
          </p:nvSpPr>
          <p:spPr bwMode="auto">
            <a:xfrm>
              <a:off x="5476876" y="3171825"/>
              <a:ext cx="887413" cy="93662"/>
            </a:xfrm>
            <a:custGeom>
              <a:avLst/>
              <a:gdLst>
                <a:gd name="T0" fmla="*/ 0 w 559"/>
                <a:gd name="T1" fmla="*/ 0 h 59"/>
                <a:gd name="T2" fmla="*/ 0 w 559"/>
                <a:gd name="T3" fmla="*/ 59 h 59"/>
                <a:gd name="T4" fmla="*/ 559 w 559"/>
                <a:gd name="T5" fmla="*/ 59 h 59"/>
                <a:gd name="T6" fmla="*/ 550 w 559"/>
                <a:gd name="T7" fmla="*/ 0 h 59"/>
                <a:gd name="T8" fmla="*/ 0 w 559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9" h="59">
                  <a:moveTo>
                    <a:pt x="0" y="0"/>
                  </a:moveTo>
                  <a:lnTo>
                    <a:pt x="0" y="59"/>
                  </a:lnTo>
                  <a:lnTo>
                    <a:pt x="559" y="59"/>
                  </a:lnTo>
                  <a:lnTo>
                    <a:pt x="55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îṥ1ídé">
              <a:extLst>
                <a:ext uri="{FF2B5EF4-FFF2-40B4-BE49-F238E27FC236}">
                  <a16:creationId xmlns:a16="http://schemas.microsoft.com/office/drawing/2014/main" id="{16D3333D-D923-42D7-AE1B-77D86814FCA0}"/>
                </a:ext>
              </a:extLst>
            </p:cNvPr>
            <p:cNvSpPr/>
            <p:nvPr/>
          </p:nvSpPr>
          <p:spPr bwMode="auto">
            <a:xfrm>
              <a:off x="6246813" y="3182938"/>
              <a:ext cx="647700" cy="73025"/>
            </a:xfrm>
            <a:custGeom>
              <a:avLst/>
              <a:gdLst>
                <a:gd name="T0" fmla="*/ 408 w 408"/>
                <a:gd name="T1" fmla="*/ 0 h 46"/>
                <a:gd name="T2" fmla="*/ 0 w 408"/>
                <a:gd name="T3" fmla="*/ 0 h 46"/>
                <a:gd name="T4" fmla="*/ 6 w 408"/>
                <a:gd name="T5" fmla="*/ 46 h 46"/>
                <a:gd name="T6" fmla="*/ 408 w 408"/>
                <a:gd name="T7" fmla="*/ 46 h 46"/>
                <a:gd name="T8" fmla="*/ 408 w 408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8" h="46">
                  <a:moveTo>
                    <a:pt x="408" y="0"/>
                  </a:moveTo>
                  <a:lnTo>
                    <a:pt x="0" y="0"/>
                  </a:lnTo>
                  <a:lnTo>
                    <a:pt x="6" y="46"/>
                  </a:lnTo>
                  <a:lnTo>
                    <a:pt x="408" y="46"/>
                  </a:lnTo>
                  <a:lnTo>
                    <a:pt x="408" y="0"/>
                  </a:lnTo>
                  <a:close/>
                </a:path>
              </a:pathLst>
            </a:cu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$ļíďê">
              <a:extLst>
                <a:ext uri="{FF2B5EF4-FFF2-40B4-BE49-F238E27FC236}">
                  <a16:creationId xmlns:a16="http://schemas.microsoft.com/office/drawing/2014/main" id="{92CA4D3D-1B76-4448-A66D-475A52D3A345}"/>
                </a:ext>
              </a:extLst>
            </p:cNvPr>
            <p:cNvSpPr/>
            <p:nvPr/>
          </p:nvSpPr>
          <p:spPr bwMode="auto">
            <a:xfrm>
              <a:off x="5870576" y="3395663"/>
              <a:ext cx="403225" cy="95250"/>
            </a:xfrm>
            <a:custGeom>
              <a:avLst/>
              <a:gdLst>
                <a:gd name="T0" fmla="*/ 0 w 254"/>
                <a:gd name="T1" fmla="*/ 0 h 60"/>
                <a:gd name="T2" fmla="*/ 0 w 254"/>
                <a:gd name="T3" fmla="*/ 60 h 60"/>
                <a:gd name="T4" fmla="*/ 254 w 254"/>
                <a:gd name="T5" fmla="*/ 60 h 60"/>
                <a:gd name="T6" fmla="*/ 252 w 254"/>
                <a:gd name="T7" fmla="*/ 0 h 60"/>
                <a:gd name="T8" fmla="*/ 0 w 254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60">
                  <a:moveTo>
                    <a:pt x="0" y="0"/>
                  </a:moveTo>
                  <a:lnTo>
                    <a:pt x="0" y="60"/>
                  </a:lnTo>
                  <a:lnTo>
                    <a:pt x="254" y="60"/>
                  </a:lnTo>
                  <a:lnTo>
                    <a:pt x="25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ïśļiḓé">
              <a:extLst>
                <a:ext uri="{FF2B5EF4-FFF2-40B4-BE49-F238E27FC236}">
                  <a16:creationId xmlns:a16="http://schemas.microsoft.com/office/drawing/2014/main" id="{A2441CBD-B5F8-4FB2-9732-025945901ADC}"/>
                </a:ext>
              </a:extLst>
            </p:cNvPr>
            <p:cNvSpPr/>
            <p:nvPr/>
          </p:nvSpPr>
          <p:spPr bwMode="auto">
            <a:xfrm>
              <a:off x="5870576" y="3395663"/>
              <a:ext cx="403225" cy="95250"/>
            </a:xfrm>
            <a:custGeom>
              <a:avLst/>
              <a:gdLst>
                <a:gd name="T0" fmla="*/ 0 w 254"/>
                <a:gd name="T1" fmla="*/ 0 h 60"/>
                <a:gd name="T2" fmla="*/ 0 w 254"/>
                <a:gd name="T3" fmla="*/ 60 h 60"/>
                <a:gd name="T4" fmla="*/ 254 w 254"/>
                <a:gd name="T5" fmla="*/ 60 h 60"/>
                <a:gd name="T6" fmla="*/ 252 w 254"/>
                <a:gd name="T7" fmla="*/ 0 h 60"/>
                <a:gd name="T8" fmla="*/ 0 w 254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60">
                  <a:moveTo>
                    <a:pt x="0" y="0"/>
                  </a:moveTo>
                  <a:lnTo>
                    <a:pt x="0" y="60"/>
                  </a:lnTo>
                  <a:lnTo>
                    <a:pt x="254" y="60"/>
                  </a:lnTo>
                  <a:lnTo>
                    <a:pt x="25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îṣḷïḓè">
              <a:extLst>
                <a:ext uri="{FF2B5EF4-FFF2-40B4-BE49-F238E27FC236}">
                  <a16:creationId xmlns:a16="http://schemas.microsoft.com/office/drawing/2014/main" id="{FC40B8D2-3484-4E49-A64A-B249FEE759F2}"/>
                </a:ext>
              </a:extLst>
            </p:cNvPr>
            <p:cNvSpPr/>
            <p:nvPr/>
          </p:nvSpPr>
          <p:spPr bwMode="auto">
            <a:xfrm>
              <a:off x="6269038" y="3400425"/>
              <a:ext cx="931863" cy="74612"/>
            </a:xfrm>
            <a:custGeom>
              <a:avLst/>
              <a:gdLst>
                <a:gd name="T0" fmla="*/ 587 w 587"/>
                <a:gd name="T1" fmla="*/ 0 h 47"/>
                <a:gd name="T2" fmla="*/ 0 w 587"/>
                <a:gd name="T3" fmla="*/ 0 h 47"/>
                <a:gd name="T4" fmla="*/ 1 w 587"/>
                <a:gd name="T5" fmla="*/ 47 h 47"/>
                <a:gd name="T6" fmla="*/ 587 w 587"/>
                <a:gd name="T7" fmla="*/ 47 h 47"/>
                <a:gd name="T8" fmla="*/ 587 w 587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7" h="47">
                  <a:moveTo>
                    <a:pt x="587" y="0"/>
                  </a:moveTo>
                  <a:lnTo>
                    <a:pt x="0" y="0"/>
                  </a:lnTo>
                  <a:lnTo>
                    <a:pt x="1" y="47"/>
                  </a:lnTo>
                  <a:lnTo>
                    <a:pt x="587" y="47"/>
                  </a:lnTo>
                  <a:lnTo>
                    <a:pt x="587" y="0"/>
                  </a:lnTo>
                  <a:close/>
                </a:path>
              </a:pathLst>
            </a:cu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ṩlîḑè">
              <a:extLst>
                <a:ext uri="{FF2B5EF4-FFF2-40B4-BE49-F238E27FC236}">
                  <a16:creationId xmlns:a16="http://schemas.microsoft.com/office/drawing/2014/main" id="{1BB2D200-382F-4983-B14C-4259766135B5}"/>
                </a:ext>
              </a:extLst>
            </p:cNvPr>
            <p:cNvSpPr/>
            <p:nvPr/>
          </p:nvSpPr>
          <p:spPr bwMode="auto">
            <a:xfrm>
              <a:off x="5673726" y="3603625"/>
              <a:ext cx="563563" cy="95250"/>
            </a:xfrm>
            <a:custGeom>
              <a:avLst/>
              <a:gdLst>
                <a:gd name="T0" fmla="*/ 0 w 355"/>
                <a:gd name="T1" fmla="*/ 60 h 60"/>
                <a:gd name="T2" fmla="*/ 341 w 355"/>
                <a:gd name="T3" fmla="*/ 60 h 60"/>
                <a:gd name="T4" fmla="*/ 350 w 355"/>
                <a:gd name="T5" fmla="*/ 37 h 60"/>
                <a:gd name="T6" fmla="*/ 355 w 355"/>
                <a:gd name="T7" fmla="*/ 0 h 60"/>
                <a:gd name="T8" fmla="*/ 0 w 355"/>
                <a:gd name="T9" fmla="*/ 0 h 60"/>
                <a:gd name="T10" fmla="*/ 0 w 355"/>
                <a:gd name="T1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5" h="60">
                  <a:moveTo>
                    <a:pt x="0" y="60"/>
                  </a:moveTo>
                  <a:lnTo>
                    <a:pt x="341" y="60"/>
                  </a:lnTo>
                  <a:lnTo>
                    <a:pt x="350" y="37"/>
                  </a:lnTo>
                  <a:lnTo>
                    <a:pt x="355" y="0"/>
                  </a:lnTo>
                  <a:lnTo>
                    <a:pt x="0" y="0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ŝlíḑe">
              <a:extLst>
                <a:ext uri="{FF2B5EF4-FFF2-40B4-BE49-F238E27FC236}">
                  <a16:creationId xmlns:a16="http://schemas.microsoft.com/office/drawing/2014/main" id="{2C7932FB-F332-4225-B82C-18B94BD2531E}"/>
                </a:ext>
              </a:extLst>
            </p:cNvPr>
            <p:cNvSpPr/>
            <p:nvPr/>
          </p:nvSpPr>
          <p:spPr bwMode="auto">
            <a:xfrm>
              <a:off x="5673726" y="3603625"/>
              <a:ext cx="563563" cy="95250"/>
            </a:xfrm>
            <a:custGeom>
              <a:avLst/>
              <a:gdLst>
                <a:gd name="T0" fmla="*/ 0 w 355"/>
                <a:gd name="T1" fmla="*/ 60 h 60"/>
                <a:gd name="T2" fmla="*/ 341 w 355"/>
                <a:gd name="T3" fmla="*/ 60 h 60"/>
                <a:gd name="T4" fmla="*/ 350 w 355"/>
                <a:gd name="T5" fmla="*/ 37 h 60"/>
                <a:gd name="T6" fmla="*/ 355 w 355"/>
                <a:gd name="T7" fmla="*/ 0 h 60"/>
                <a:gd name="T8" fmla="*/ 0 w 355"/>
                <a:gd name="T9" fmla="*/ 0 h 60"/>
                <a:gd name="T10" fmla="*/ 0 w 355"/>
                <a:gd name="T1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5" h="60">
                  <a:moveTo>
                    <a:pt x="0" y="60"/>
                  </a:moveTo>
                  <a:lnTo>
                    <a:pt x="341" y="60"/>
                  </a:lnTo>
                  <a:lnTo>
                    <a:pt x="350" y="37"/>
                  </a:lnTo>
                  <a:lnTo>
                    <a:pt x="355" y="0"/>
                  </a:lnTo>
                  <a:lnTo>
                    <a:pt x="0" y="0"/>
                  </a:lnTo>
                  <a:lnTo>
                    <a:pt x="0" y="6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ś1ïḓê">
              <a:extLst>
                <a:ext uri="{FF2B5EF4-FFF2-40B4-BE49-F238E27FC236}">
                  <a16:creationId xmlns:a16="http://schemas.microsoft.com/office/drawing/2014/main" id="{B483BCD8-AB15-49EB-9506-8658266AFE11}"/>
                </a:ext>
              </a:extLst>
            </p:cNvPr>
            <p:cNvSpPr/>
            <p:nvPr/>
          </p:nvSpPr>
          <p:spPr bwMode="auto">
            <a:xfrm>
              <a:off x="6240463" y="3617913"/>
              <a:ext cx="793750" cy="74612"/>
            </a:xfrm>
            <a:custGeom>
              <a:avLst/>
              <a:gdLst>
                <a:gd name="T0" fmla="*/ 0 w 500"/>
                <a:gd name="T1" fmla="*/ 47 h 47"/>
                <a:gd name="T2" fmla="*/ 500 w 500"/>
                <a:gd name="T3" fmla="*/ 47 h 47"/>
                <a:gd name="T4" fmla="*/ 500 w 500"/>
                <a:gd name="T5" fmla="*/ 0 h 47"/>
                <a:gd name="T6" fmla="*/ 11 w 500"/>
                <a:gd name="T7" fmla="*/ 0 h 47"/>
                <a:gd name="T8" fmla="*/ 6 w 500"/>
                <a:gd name="T9" fmla="*/ 29 h 47"/>
                <a:gd name="T10" fmla="*/ 0 w 500"/>
                <a:gd name="T1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0" h="47">
                  <a:moveTo>
                    <a:pt x="0" y="47"/>
                  </a:moveTo>
                  <a:lnTo>
                    <a:pt x="500" y="47"/>
                  </a:lnTo>
                  <a:lnTo>
                    <a:pt x="500" y="0"/>
                  </a:lnTo>
                  <a:lnTo>
                    <a:pt x="11" y="0"/>
                  </a:lnTo>
                  <a:lnTo>
                    <a:pt x="6" y="29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$ḻïḋè">
              <a:extLst>
                <a:ext uri="{FF2B5EF4-FFF2-40B4-BE49-F238E27FC236}">
                  <a16:creationId xmlns:a16="http://schemas.microsoft.com/office/drawing/2014/main" id="{7282E13A-33CD-4E87-A5C9-AC4A3DAACC7F}"/>
                </a:ext>
              </a:extLst>
            </p:cNvPr>
            <p:cNvSpPr/>
            <p:nvPr/>
          </p:nvSpPr>
          <p:spPr bwMode="auto">
            <a:xfrm>
              <a:off x="6157913" y="3835400"/>
              <a:ext cx="431800" cy="74612"/>
            </a:xfrm>
            <a:custGeom>
              <a:avLst/>
              <a:gdLst>
                <a:gd name="T0" fmla="*/ 0 w 272"/>
                <a:gd name="T1" fmla="*/ 47 h 47"/>
                <a:gd name="T2" fmla="*/ 272 w 272"/>
                <a:gd name="T3" fmla="*/ 47 h 47"/>
                <a:gd name="T4" fmla="*/ 272 w 272"/>
                <a:gd name="T5" fmla="*/ 0 h 47"/>
                <a:gd name="T6" fmla="*/ 18 w 272"/>
                <a:gd name="T7" fmla="*/ 0 h 47"/>
                <a:gd name="T8" fmla="*/ 16 w 272"/>
                <a:gd name="T9" fmla="*/ 7 h 47"/>
                <a:gd name="T10" fmla="*/ 0 w 272"/>
                <a:gd name="T1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2" h="47">
                  <a:moveTo>
                    <a:pt x="0" y="47"/>
                  </a:moveTo>
                  <a:lnTo>
                    <a:pt x="272" y="47"/>
                  </a:lnTo>
                  <a:lnTo>
                    <a:pt x="272" y="0"/>
                  </a:lnTo>
                  <a:lnTo>
                    <a:pt x="18" y="0"/>
                  </a:lnTo>
                  <a:lnTo>
                    <a:pt x="16" y="7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íSļïďe">
              <a:extLst>
                <a:ext uri="{FF2B5EF4-FFF2-40B4-BE49-F238E27FC236}">
                  <a16:creationId xmlns:a16="http://schemas.microsoft.com/office/drawing/2014/main" id="{FE75CCD3-0A38-4DAA-8BE6-9F29B40E698F}"/>
                </a:ext>
              </a:extLst>
            </p:cNvPr>
            <p:cNvSpPr/>
            <p:nvPr/>
          </p:nvSpPr>
          <p:spPr bwMode="auto">
            <a:xfrm>
              <a:off x="5930901" y="4054475"/>
              <a:ext cx="922338" cy="73025"/>
            </a:xfrm>
            <a:custGeom>
              <a:avLst/>
              <a:gdLst>
                <a:gd name="T0" fmla="*/ 0 w 581"/>
                <a:gd name="T1" fmla="*/ 46 h 46"/>
                <a:gd name="T2" fmla="*/ 581 w 581"/>
                <a:gd name="T3" fmla="*/ 46 h 46"/>
                <a:gd name="T4" fmla="*/ 581 w 581"/>
                <a:gd name="T5" fmla="*/ 0 h 46"/>
                <a:gd name="T6" fmla="*/ 44 w 581"/>
                <a:gd name="T7" fmla="*/ 0 h 46"/>
                <a:gd name="T8" fmla="*/ 35 w 581"/>
                <a:gd name="T9" fmla="*/ 5 h 46"/>
                <a:gd name="T10" fmla="*/ 0 w 581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1" h="46">
                  <a:moveTo>
                    <a:pt x="0" y="46"/>
                  </a:moveTo>
                  <a:lnTo>
                    <a:pt x="581" y="46"/>
                  </a:lnTo>
                  <a:lnTo>
                    <a:pt x="581" y="0"/>
                  </a:lnTo>
                  <a:lnTo>
                    <a:pt x="44" y="0"/>
                  </a:lnTo>
                  <a:lnTo>
                    <a:pt x="35" y="5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şḷîďé">
              <a:extLst>
                <a:ext uri="{FF2B5EF4-FFF2-40B4-BE49-F238E27FC236}">
                  <a16:creationId xmlns:a16="http://schemas.microsoft.com/office/drawing/2014/main" id="{A5C1B953-8E32-4B93-A850-AD4F6DB5B433}"/>
                </a:ext>
              </a:extLst>
            </p:cNvPr>
            <p:cNvSpPr/>
            <p:nvPr/>
          </p:nvSpPr>
          <p:spPr bwMode="auto">
            <a:xfrm>
              <a:off x="5751513" y="3830638"/>
              <a:ext cx="403225" cy="95250"/>
            </a:xfrm>
            <a:custGeom>
              <a:avLst/>
              <a:gdLst>
                <a:gd name="T0" fmla="*/ 0 w 254"/>
                <a:gd name="T1" fmla="*/ 0 h 60"/>
                <a:gd name="T2" fmla="*/ 0 w 254"/>
                <a:gd name="T3" fmla="*/ 60 h 60"/>
                <a:gd name="T4" fmla="*/ 254 w 254"/>
                <a:gd name="T5" fmla="*/ 60 h 60"/>
                <a:gd name="T6" fmla="*/ 252 w 254"/>
                <a:gd name="T7" fmla="*/ 0 h 60"/>
                <a:gd name="T8" fmla="*/ 0 w 254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60">
                  <a:moveTo>
                    <a:pt x="0" y="0"/>
                  </a:moveTo>
                  <a:lnTo>
                    <a:pt x="0" y="60"/>
                  </a:lnTo>
                  <a:lnTo>
                    <a:pt x="254" y="60"/>
                  </a:lnTo>
                  <a:lnTo>
                    <a:pt x="25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1F9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ṡļiḋe">
              <a:extLst>
                <a:ext uri="{FF2B5EF4-FFF2-40B4-BE49-F238E27FC236}">
                  <a16:creationId xmlns:a16="http://schemas.microsoft.com/office/drawing/2014/main" id="{F61B40E7-29A4-419F-A026-2BE470092983}"/>
                </a:ext>
              </a:extLst>
            </p:cNvPr>
            <p:cNvSpPr/>
            <p:nvPr/>
          </p:nvSpPr>
          <p:spPr bwMode="auto">
            <a:xfrm>
              <a:off x="5751513" y="3830638"/>
              <a:ext cx="403225" cy="95250"/>
            </a:xfrm>
            <a:custGeom>
              <a:avLst/>
              <a:gdLst>
                <a:gd name="T0" fmla="*/ 0 w 254"/>
                <a:gd name="T1" fmla="*/ 0 h 60"/>
                <a:gd name="T2" fmla="*/ 0 w 254"/>
                <a:gd name="T3" fmla="*/ 60 h 60"/>
                <a:gd name="T4" fmla="*/ 254 w 254"/>
                <a:gd name="T5" fmla="*/ 60 h 60"/>
                <a:gd name="T6" fmla="*/ 252 w 254"/>
                <a:gd name="T7" fmla="*/ 0 h 60"/>
                <a:gd name="T8" fmla="*/ 0 w 254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60">
                  <a:moveTo>
                    <a:pt x="0" y="0"/>
                  </a:moveTo>
                  <a:lnTo>
                    <a:pt x="0" y="60"/>
                  </a:lnTo>
                  <a:lnTo>
                    <a:pt x="254" y="60"/>
                  </a:lnTo>
                  <a:lnTo>
                    <a:pt x="25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śḷîdé">
              <a:extLst>
                <a:ext uri="{FF2B5EF4-FFF2-40B4-BE49-F238E27FC236}">
                  <a16:creationId xmlns:a16="http://schemas.microsoft.com/office/drawing/2014/main" id="{C693B23E-B82E-44A8-9F1B-97A65A8EE2F8}"/>
                </a:ext>
              </a:extLst>
            </p:cNvPr>
            <p:cNvSpPr/>
            <p:nvPr/>
          </p:nvSpPr>
          <p:spPr bwMode="auto">
            <a:xfrm>
              <a:off x="4216401" y="3778250"/>
              <a:ext cx="531813" cy="415925"/>
            </a:xfrm>
            <a:custGeom>
              <a:avLst/>
              <a:gdLst>
                <a:gd name="T0" fmla="*/ 56 w 335"/>
                <a:gd name="T1" fmla="*/ 262 h 262"/>
                <a:gd name="T2" fmla="*/ 0 w 335"/>
                <a:gd name="T3" fmla="*/ 171 h 262"/>
                <a:gd name="T4" fmla="*/ 279 w 335"/>
                <a:gd name="T5" fmla="*/ 0 h 262"/>
                <a:gd name="T6" fmla="*/ 335 w 335"/>
                <a:gd name="T7" fmla="*/ 91 h 262"/>
                <a:gd name="T8" fmla="*/ 56 w 335"/>
                <a:gd name="T9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262">
                  <a:moveTo>
                    <a:pt x="56" y="262"/>
                  </a:moveTo>
                  <a:lnTo>
                    <a:pt x="0" y="171"/>
                  </a:lnTo>
                  <a:lnTo>
                    <a:pt x="279" y="0"/>
                  </a:lnTo>
                  <a:lnTo>
                    <a:pt x="335" y="91"/>
                  </a:lnTo>
                  <a:lnTo>
                    <a:pt x="56" y="262"/>
                  </a:lnTo>
                  <a:close/>
                </a:path>
              </a:pathLst>
            </a:custGeom>
            <a:solidFill>
              <a:srgbClr val="4368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šḻïḑé">
              <a:extLst>
                <a:ext uri="{FF2B5EF4-FFF2-40B4-BE49-F238E27FC236}">
                  <a16:creationId xmlns:a16="http://schemas.microsoft.com/office/drawing/2014/main" id="{29154240-F416-4E32-8625-62D3E701E89B}"/>
                </a:ext>
              </a:extLst>
            </p:cNvPr>
            <p:cNvSpPr/>
            <p:nvPr/>
          </p:nvSpPr>
          <p:spPr bwMode="auto">
            <a:xfrm>
              <a:off x="4338638" y="2368550"/>
              <a:ext cx="2154238" cy="2155825"/>
            </a:xfrm>
            <a:custGeom>
              <a:avLst/>
              <a:gdLst>
                <a:gd name="T0" fmla="*/ 2838 w 3254"/>
                <a:gd name="T1" fmla="*/ 875 h 3254"/>
                <a:gd name="T2" fmla="*/ 875 w 3254"/>
                <a:gd name="T3" fmla="*/ 416 h 3254"/>
                <a:gd name="T4" fmla="*/ 415 w 3254"/>
                <a:gd name="T5" fmla="*/ 2379 h 3254"/>
                <a:gd name="T6" fmla="*/ 2379 w 3254"/>
                <a:gd name="T7" fmla="*/ 2839 h 3254"/>
                <a:gd name="T8" fmla="*/ 2838 w 3254"/>
                <a:gd name="T9" fmla="*/ 875 h 3254"/>
                <a:gd name="T10" fmla="*/ 2250 w 3254"/>
                <a:gd name="T11" fmla="*/ 2631 h 3254"/>
                <a:gd name="T12" fmla="*/ 623 w 3254"/>
                <a:gd name="T13" fmla="*/ 2250 h 3254"/>
                <a:gd name="T14" fmla="*/ 1004 w 3254"/>
                <a:gd name="T15" fmla="*/ 623 h 3254"/>
                <a:gd name="T16" fmla="*/ 2630 w 3254"/>
                <a:gd name="T17" fmla="*/ 1004 h 3254"/>
                <a:gd name="T18" fmla="*/ 2250 w 3254"/>
                <a:gd name="T19" fmla="*/ 2631 h 3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54" h="3254">
                  <a:moveTo>
                    <a:pt x="2838" y="875"/>
                  </a:moveTo>
                  <a:cubicBezTo>
                    <a:pt x="2423" y="206"/>
                    <a:pt x="1544" y="0"/>
                    <a:pt x="875" y="416"/>
                  </a:cubicBezTo>
                  <a:cubicBezTo>
                    <a:pt x="206" y="831"/>
                    <a:pt x="0" y="1710"/>
                    <a:pt x="415" y="2379"/>
                  </a:cubicBezTo>
                  <a:cubicBezTo>
                    <a:pt x="830" y="3048"/>
                    <a:pt x="1710" y="3254"/>
                    <a:pt x="2379" y="2839"/>
                  </a:cubicBezTo>
                  <a:cubicBezTo>
                    <a:pt x="3048" y="2423"/>
                    <a:pt x="3254" y="1544"/>
                    <a:pt x="2838" y="875"/>
                  </a:cubicBezTo>
                  <a:moveTo>
                    <a:pt x="2250" y="2631"/>
                  </a:moveTo>
                  <a:cubicBezTo>
                    <a:pt x="1695" y="2975"/>
                    <a:pt x="967" y="2804"/>
                    <a:pt x="623" y="2250"/>
                  </a:cubicBezTo>
                  <a:cubicBezTo>
                    <a:pt x="279" y="1696"/>
                    <a:pt x="450" y="967"/>
                    <a:pt x="1004" y="623"/>
                  </a:cubicBezTo>
                  <a:cubicBezTo>
                    <a:pt x="1558" y="280"/>
                    <a:pt x="2286" y="450"/>
                    <a:pt x="2630" y="1004"/>
                  </a:cubicBezTo>
                  <a:cubicBezTo>
                    <a:pt x="2974" y="1559"/>
                    <a:pt x="2804" y="2287"/>
                    <a:pt x="2250" y="2631"/>
                  </a:cubicBezTo>
                </a:path>
              </a:pathLst>
            </a:custGeom>
            <a:solidFill>
              <a:srgbClr val="4368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íṥlïḋè">
              <a:extLst>
                <a:ext uri="{FF2B5EF4-FFF2-40B4-BE49-F238E27FC236}">
                  <a16:creationId xmlns:a16="http://schemas.microsoft.com/office/drawing/2014/main" id="{ADAF9FCC-8550-4809-9D87-EC72472A6ABE}"/>
                </a:ext>
              </a:extLst>
            </p:cNvPr>
            <p:cNvSpPr/>
            <p:nvPr/>
          </p:nvSpPr>
          <p:spPr bwMode="auto">
            <a:xfrm>
              <a:off x="4632326" y="3119438"/>
              <a:ext cx="71438" cy="654050"/>
            </a:xfrm>
            <a:custGeom>
              <a:avLst/>
              <a:gdLst>
                <a:gd name="T0" fmla="*/ 108 w 108"/>
                <a:gd name="T1" fmla="*/ 0 h 986"/>
                <a:gd name="T2" fmla="*/ 1 w 108"/>
                <a:gd name="T3" fmla="*/ 495 h 986"/>
                <a:gd name="T4" fmla="*/ 108 w 108"/>
                <a:gd name="T5" fmla="*/ 986 h 986"/>
                <a:gd name="T6" fmla="*/ 108 w 108"/>
                <a:gd name="T7" fmla="*/ 0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986">
                  <a:moveTo>
                    <a:pt x="108" y="0"/>
                  </a:moveTo>
                  <a:cubicBezTo>
                    <a:pt x="37" y="155"/>
                    <a:pt x="0" y="324"/>
                    <a:pt x="1" y="495"/>
                  </a:cubicBezTo>
                  <a:cubicBezTo>
                    <a:pt x="1" y="661"/>
                    <a:pt x="36" y="828"/>
                    <a:pt x="108" y="986"/>
                  </a:cubicBezTo>
                  <a:cubicBezTo>
                    <a:pt x="108" y="0"/>
                    <a:pt x="108" y="0"/>
                    <a:pt x="108" y="0"/>
                  </a:cubicBezTo>
                </a:path>
              </a:pathLst>
            </a:custGeom>
            <a:solidFill>
              <a:srgbClr val="B8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śḷiďé">
              <a:extLst>
                <a:ext uri="{FF2B5EF4-FFF2-40B4-BE49-F238E27FC236}">
                  <a16:creationId xmlns:a16="http://schemas.microsoft.com/office/drawing/2014/main" id="{4508FA4F-C050-4290-A3AC-6EBD4EE7AA8C}"/>
                </a:ext>
              </a:extLst>
            </p:cNvPr>
            <p:cNvSpPr/>
            <p:nvPr/>
          </p:nvSpPr>
          <p:spPr bwMode="auto">
            <a:xfrm>
              <a:off x="4703763" y="2663825"/>
              <a:ext cx="1335088" cy="1195387"/>
            </a:xfrm>
            <a:custGeom>
              <a:avLst/>
              <a:gdLst>
                <a:gd name="T0" fmla="*/ 1073 w 2014"/>
                <a:gd name="T1" fmla="*/ 0 h 1804"/>
                <a:gd name="T2" fmla="*/ 1073 w 2014"/>
                <a:gd name="T3" fmla="*/ 0 h 1804"/>
                <a:gd name="T4" fmla="*/ 455 w 2014"/>
                <a:gd name="T5" fmla="*/ 175 h 1804"/>
                <a:gd name="T6" fmla="*/ 451 w 2014"/>
                <a:gd name="T7" fmla="*/ 177 h 1804"/>
                <a:gd name="T8" fmla="*/ 451 w 2014"/>
                <a:gd name="T9" fmla="*/ 177 h 1804"/>
                <a:gd name="T10" fmla="*/ 0 w 2014"/>
                <a:gd name="T11" fmla="*/ 688 h 1804"/>
                <a:gd name="T12" fmla="*/ 0 w 2014"/>
                <a:gd name="T13" fmla="*/ 1674 h 1804"/>
                <a:gd name="T14" fmla="*/ 70 w 2014"/>
                <a:gd name="T15" fmla="*/ 1804 h 1804"/>
                <a:gd name="T16" fmla="*/ 70 w 2014"/>
                <a:gd name="T17" fmla="*/ 1804 h 1804"/>
                <a:gd name="T18" fmla="*/ 70 w 2014"/>
                <a:gd name="T19" fmla="*/ 1804 h 1804"/>
                <a:gd name="T20" fmla="*/ 461 w 2014"/>
                <a:gd name="T21" fmla="*/ 1561 h 1804"/>
                <a:gd name="T22" fmla="*/ 389 w 2014"/>
                <a:gd name="T23" fmla="*/ 1561 h 1804"/>
                <a:gd name="T24" fmla="*/ 389 w 2014"/>
                <a:gd name="T25" fmla="*/ 1418 h 1804"/>
                <a:gd name="T26" fmla="*/ 691 w 2014"/>
                <a:gd name="T27" fmla="*/ 1418 h 1804"/>
                <a:gd name="T28" fmla="*/ 1515 w 2014"/>
                <a:gd name="T29" fmla="*/ 907 h 1804"/>
                <a:gd name="T30" fmla="*/ 1166 w 2014"/>
                <a:gd name="T31" fmla="*/ 907 h 1804"/>
                <a:gd name="T32" fmla="*/ 1166 w 2014"/>
                <a:gd name="T33" fmla="*/ 765 h 1804"/>
                <a:gd name="T34" fmla="*/ 1745 w 2014"/>
                <a:gd name="T35" fmla="*/ 765 h 1804"/>
                <a:gd name="T36" fmla="*/ 1995 w 2014"/>
                <a:gd name="T37" fmla="*/ 609 h 1804"/>
                <a:gd name="T38" fmla="*/ 1819 w 2014"/>
                <a:gd name="T39" fmla="*/ 609 h 1804"/>
                <a:gd name="T40" fmla="*/ 1819 w 2014"/>
                <a:gd name="T41" fmla="*/ 466 h 1804"/>
                <a:gd name="T42" fmla="*/ 2014 w 2014"/>
                <a:gd name="T43" fmla="*/ 466 h 1804"/>
                <a:gd name="T44" fmla="*/ 1826 w 2014"/>
                <a:gd name="T45" fmla="*/ 270 h 1804"/>
                <a:gd name="T46" fmla="*/ 1236 w 2014"/>
                <a:gd name="T47" fmla="*/ 270 h 1804"/>
                <a:gd name="T48" fmla="*/ 1236 w 2014"/>
                <a:gd name="T49" fmla="*/ 127 h 1804"/>
                <a:gd name="T50" fmla="*/ 1607 w 2014"/>
                <a:gd name="T51" fmla="*/ 127 h 1804"/>
                <a:gd name="T52" fmla="*/ 1073 w 2014"/>
                <a:gd name="T53" fmla="*/ 0 h 1804"/>
                <a:gd name="T54" fmla="*/ 1073 w 2014"/>
                <a:gd name="T55" fmla="*/ 0 h 1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14" h="1804">
                  <a:moveTo>
                    <a:pt x="1073" y="0"/>
                  </a:moveTo>
                  <a:cubicBezTo>
                    <a:pt x="1073" y="0"/>
                    <a:pt x="1073" y="0"/>
                    <a:pt x="1073" y="0"/>
                  </a:cubicBezTo>
                  <a:cubicBezTo>
                    <a:pt x="862" y="0"/>
                    <a:pt x="648" y="56"/>
                    <a:pt x="455" y="175"/>
                  </a:cubicBezTo>
                  <a:cubicBezTo>
                    <a:pt x="454" y="176"/>
                    <a:pt x="452" y="177"/>
                    <a:pt x="451" y="177"/>
                  </a:cubicBezTo>
                  <a:cubicBezTo>
                    <a:pt x="451" y="177"/>
                    <a:pt x="451" y="177"/>
                    <a:pt x="451" y="177"/>
                  </a:cubicBezTo>
                  <a:cubicBezTo>
                    <a:pt x="246" y="305"/>
                    <a:pt x="94" y="484"/>
                    <a:pt x="0" y="688"/>
                  </a:cubicBezTo>
                  <a:cubicBezTo>
                    <a:pt x="0" y="1674"/>
                    <a:pt x="0" y="1674"/>
                    <a:pt x="0" y="1674"/>
                  </a:cubicBezTo>
                  <a:cubicBezTo>
                    <a:pt x="21" y="1718"/>
                    <a:pt x="44" y="1762"/>
                    <a:pt x="70" y="1804"/>
                  </a:cubicBezTo>
                  <a:cubicBezTo>
                    <a:pt x="70" y="1804"/>
                    <a:pt x="70" y="1804"/>
                    <a:pt x="70" y="1804"/>
                  </a:cubicBezTo>
                  <a:cubicBezTo>
                    <a:pt x="70" y="1804"/>
                    <a:pt x="70" y="1804"/>
                    <a:pt x="70" y="1804"/>
                  </a:cubicBezTo>
                  <a:cubicBezTo>
                    <a:pt x="461" y="1561"/>
                    <a:pt x="461" y="1561"/>
                    <a:pt x="461" y="1561"/>
                  </a:cubicBezTo>
                  <a:cubicBezTo>
                    <a:pt x="389" y="1561"/>
                    <a:pt x="389" y="1561"/>
                    <a:pt x="389" y="1561"/>
                  </a:cubicBezTo>
                  <a:cubicBezTo>
                    <a:pt x="389" y="1418"/>
                    <a:pt x="389" y="1418"/>
                    <a:pt x="389" y="1418"/>
                  </a:cubicBezTo>
                  <a:cubicBezTo>
                    <a:pt x="691" y="1418"/>
                    <a:pt x="691" y="1418"/>
                    <a:pt x="691" y="1418"/>
                  </a:cubicBezTo>
                  <a:cubicBezTo>
                    <a:pt x="1515" y="907"/>
                    <a:pt x="1515" y="907"/>
                    <a:pt x="1515" y="907"/>
                  </a:cubicBezTo>
                  <a:cubicBezTo>
                    <a:pt x="1166" y="907"/>
                    <a:pt x="1166" y="907"/>
                    <a:pt x="1166" y="907"/>
                  </a:cubicBezTo>
                  <a:cubicBezTo>
                    <a:pt x="1166" y="765"/>
                    <a:pt x="1166" y="765"/>
                    <a:pt x="1166" y="765"/>
                  </a:cubicBezTo>
                  <a:cubicBezTo>
                    <a:pt x="1745" y="765"/>
                    <a:pt x="1745" y="765"/>
                    <a:pt x="1745" y="765"/>
                  </a:cubicBezTo>
                  <a:cubicBezTo>
                    <a:pt x="1995" y="609"/>
                    <a:pt x="1995" y="609"/>
                    <a:pt x="1995" y="609"/>
                  </a:cubicBezTo>
                  <a:cubicBezTo>
                    <a:pt x="1819" y="609"/>
                    <a:pt x="1819" y="609"/>
                    <a:pt x="1819" y="609"/>
                  </a:cubicBezTo>
                  <a:cubicBezTo>
                    <a:pt x="1819" y="466"/>
                    <a:pt x="1819" y="466"/>
                    <a:pt x="1819" y="466"/>
                  </a:cubicBezTo>
                  <a:cubicBezTo>
                    <a:pt x="2014" y="466"/>
                    <a:pt x="2014" y="466"/>
                    <a:pt x="2014" y="466"/>
                  </a:cubicBezTo>
                  <a:cubicBezTo>
                    <a:pt x="1958" y="392"/>
                    <a:pt x="1895" y="327"/>
                    <a:pt x="1826" y="270"/>
                  </a:cubicBezTo>
                  <a:cubicBezTo>
                    <a:pt x="1236" y="270"/>
                    <a:pt x="1236" y="270"/>
                    <a:pt x="1236" y="270"/>
                  </a:cubicBezTo>
                  <a:cubicBezTo>
                    <a:pt x="1236" y="127"/>
                    <a:pt x="1236" y="127"/>
                    <a:pt x="1236" y="127"/>
                  </a:cubicBezTo>
                  <a:cubicBezTo>
                    <a:pt x="1607" y="127"/>
                    <a:pt x="1607" y="127"/>
                    <a:pt x="1607" y="127"/>
                  </a:cubicBezTo>
                  <a:cubicBezTo>
                    <a:pt x="1442" y="43"/>
                    <a:pt x="1258" y="0"/>
                    <a:pt x="1073" y="0"/>
                  </a:cubicBezTo>
                  <a:cubicBezTo>
                    <a:pt x="1073" y="0"/>
                    <a:pt x="1073" y="0"/>
                    <a:pt x="1073" y="0"/>
                  </a:cubicBezTo>
                </a:path>
              </a:pathLst>
            </a:custGeom>
            <a:solidFill>
              <a:srgbClr val="84CA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íṡľíḍè">
              <a:extLst>
                <a:ext uri="{FF2B5EF4-FFF2-40B4-BE49-F238E27FC236}">
                  <a16:creationId xmlns:a16="http://schemas.microsoft.com/office/drawing/2014/main" id="{8D8D6986-F219-4559-B159-B1D0B671CD8E}"/>
                </a:ext>
              </a:extLst>
            </p:cNvPr>
            <p:cNvSpPr/>
            <p:nvPr/>
          </p:nvSpPr>
          <p:spPr bwMode="auto">
            <a:xfrm>
              <a:off x="4962526" y="3603625"/>
              <a:ext cx="200025" cy="95250"/>
            </a:xfrm>
            <a:custGeom>
              <a:avLst/>
              <a:gdLst>
                <a:gd name="T0" fmla="*/ 126 w 126"/>
                <a:gd name="T1" fmla="*/ 0 h 60"/>
                <a:gd name="T2" fmla="*/ 0 w 126"/>
                <a:gd name="T3" fmla="*/ 0 h 60"/>
                <a:gd name="T4" fmla="*/ 0 w 126"/>
                <a:gd name="T5" fmla="*/ 60 h 60"/>
                <a:gd name="T6" fmla="*/ 30 w 126"/>
                <a:gd name="T7" fmla="*/ 60 h 60"/>
                <a:gd name="T8" fmla="*/ 126 w 12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60">
                  <a:moveTo>
                    <a:pt x="126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30" y="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BDE3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íS1îḋê">
              <a:extLst>
                <a:ext uri="{FF2B5EF4-FFF2-40B4-BE49-F238E27FC236}">
                  <a16:creationId xmlns:a16="http://schemas.microsoft.com/office/drawing/2014/main" id="{C6C42FF6-5712-45CB-B629-043B2783202A}"/>
                </a:ext>
              </a:extLst>
            </p:cNvPr>
            <p:cNvSpPr/>
            <p:nvPr/>
          </p:nvSpPr>
          <p:spPr bwMode="auto">
            <a:xfrm>
              <a:off x="4962526" y="3603625"/>
              <a:ext cx="200025" cy="95250"/>
            </a:xfrm>
            <a:custGeom>
              <a:avLst/>
              <a:gdLst>
                <a:gd name="T0" fmla="*/ 126 w 126"/>
                <a:gd name="T1" fmla="*/ 0 h 60"/>
                <a:gd name="T2" fmla="*/ 0 w 126"/>
                <a:gd name="T3" fmla="*/ 0 h 60"/>
                <a:gd name="T4" fmla="*/ 0 w 126"/>
                <a:gd name="T5" fmla="*/ 60 h 60"/>
                <a:gd name="T6" fmla="*/ 30 w 126"/>
                <a:gd name="T7" fmla="*/ 60 h 60"/>
                <a:gd name="T8" fmla="*/ 126 w 12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60">
                  <a:moveTo>
                    <a:pt x="126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30" y="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îŝ1iḑe">
              <a:extLst>
                <a:ext uri="{FF2B5EF4-FFF2-40B4-BE49-F238E27FC236}">
                  <a16:creationId xmlns:a16="http://schemas.microsoft.com/office/drawing/2014/main" id="{E1B6A3AB-DB9F-4BA2-B21E-02EA00FB78ED}"/>
                </a:ext>
              </a:extLst>
            </p:cNvPr>
            <p:cNvSpPr/>
            <p:nvPr/>
          </p:nvSpPr>
          <p:spPr bwMode="auto">
            <a:xfrm>
              <a:off x="5522913" y="2747963"/>
              <a:ext cx="390525" cy="95250"/>
            </a:xfrm>
            <a:custGeom>
              <a:avLst/>
              <a:gdLst>
                <a:gd name="T0" fmla="*/ 371 w 590"/>
                <a:gd name="T1" fmla="*/ 0 h 143"/>
                <a:gd name="T2" fmla="*/ 0 w 590"/>
                <a:gd name="T3" fmla="*/ 0 h 143"/>
                <a:gd name="T4" fmla="*/ 0 w 590"/>
                <a:gd name="T5" fmla="*/ 143 h 143"/>
                <a:gd name="T6" fmla="*/ 590 w 590"/>
                <a:gd name="T7" fmla="*/ 143 h 143"/>
                <a:gd name="T8" fmla="*/ 371 w 590"/>
                <a:gd name="T9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0" h="143">
                  <a:moveTo>
                    <a:pt x="37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590" y="143"/>
                    <a:pt x="590" y="143"/>
                    <a:pt x="590" y="143"/>
                  </a:cubicBezTo>
                  <a:cubicBezTo>
                    <a:pt x="522" y="87"/>
                    <a:pt x="448" y="39"/>
                    <a:pt x="371" y="0"/>
                  </a:cubicBezTo>
                </a:path>
              </a:pathLst>
            </a:custGeom>
            <a:solidFill>
              <a:srgbClr val="BDE3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íṧliḍè">
              <a:extLst>
                <a:ext uri="{FF2B5EF4-FFF2-40B4-BE49-F238E27FC236}">
                  <a16:creationId xmlns:a16="http://schemas.microsoft.com/office/drawing/2014/main" id="{AE65A396-BAAA-476B-9B38-8B2B1744EFF5}"/>
                </a:ext>
              </a:extLst>
            </p:cNvPr>
            <p:cNvSpPr/>
            <p:nvPr/>
          </p:nvSpPr>
          <p:spPr bwMode="auto">
            <a:xfrm>
              <a:off x="5908676" y="2973388"/>
              <a:ext cx="171450" cy="93662"/>
            </a:xfrm>
            <a:custGeom>
              <a:avLst/>
              <a:gdLst>
                <a:gd name="T0" fmla="*/ 195 w 258"/>
                <a:gd name="T1" fmla="*/ 0 h 143"/>
                <a:gd name="T2" fmla="*/ 0 w 258"/>
                <a:gd name="T3" fmla="*/ 0 h 143"/>
                <a:gd name="T4" fmla="*/ 0 w 258"/>
                <a:gd name="T5" fmla="*/ 143 h 143"/>
                <a:gd name="T6" fmla="*/ 176 w 258"/>
                <a:gd name="T7" fmla="*/ 143 h 143"/>
                <a:gd name="T8" fmla="*/ 258 w 258"/>
                <a:gd name="T9" fmla="*/ 92 h 143"/>
                <a:gd name="T10" fmla="*/ 195 w 258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143">
                  <a:moveTo>
                    <a:pt x="19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76" y="143"/>
                    <a:pt x="176" y="143"/>
                    <a:pt x="176" y="143"/>
                  </a:cubicBezTo>
                  <a:cubicBezTo>
                    <a:pt x="258" y="92"/>
                    <a:pt x="258" y="92"/>
                    <a:pt x="258" y="92"/>
                  </a:cubicBezTo>
                  <a:cubicBezTo>
                    <a:pt x="239" y="60"/>
                    <a:pt x="218" y="30"/>
                    <a:pt x="195" y="0"/>
                  </a:cubicBezTo>
                </a:path>
              </a:pathLst>
            </a:custGeom>
            <a:solidFill>
              <a:srgbClr val="BDE3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ṡ1iḋê">
              <a:extLst>
                <a:ext uri="{FF2B5EF4-FFF2-40B4-BE49-F238E27FC236}">
                  <a16:creationId xmlns:a16="http://schemas.microsoft.com/office/drawing/2014/main" id="{C596001B-A955-4394-A1B1-A554171BBF42}"/>
                </a:ext>
              </a:extLst>
            </p:cNvPr>
            <p:cNvSpPr/>
            <p:nvPr/>
          </p:nvSpPr>
          <p:spPr bwMode="auto">
            <a:xfrm>
              <a:off x="5476876" y="3171825"/>
              <a:ext cx="382588" cy="93662"/>
            </a:xfrm>
            <a:custGeom>
              <a:avLst/>
              <a:gdLst>
                <a:gd name="T0" fmla="*/ 241 w 241"/>
                <a:gd name="T1" fmla="*/ 0 h 59"/>
                <a:gd name="T2" fmla="*/ 0 w 241"/>
                <a:gd name="T3" fmla="*/ 0 h 59"/>
                <a:gd name="T4" fmla="*/ 0 w 241"/>
                <a:gd name="T5" fmla="*/ 59 h 59"/>
                <a:gd name="T6" fmla="*/ 145 w 241"/>
                <a:gd name="T7" fmla="*/ 59 h 59"/>
                <a:gd name="T8" fmla="*/ 241 w 241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59">
                  <a:moveTo>
                    <a:pt x="241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145" y="59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BDE3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íṥľïḋé">
              <a:extLst>
                <a:ext uri="{FF2B5EF4-FFF2-40B4-BE49-F238E27FC236}">
                  <a16:creationId xmlns:a16="http://schemas.microsoft.com/office/drawing/2014/main" id="{5BB22EE9-4EC2-430D-B942-1466E5DB4900}"/>
                </a:ext>
              </a:extLst>
            </p:cNvPr>
            <p:cNvSpPr/>
            <p:nvPr/>
          </p:nvSpPr>
          <p:spPr bwMode="auto">
            <a:xfrm>
              <a:off x="5476876" y="3171825"/>
              <a:ext cx="382588" cy="93662"/>
            </a:xfrm>
            <a:custGeom>
              <a:avLst/>
              <a:gdLst>
                <a:gd name="T0" fmla="*/ 241 w 241"/>
                <a:gd name="T1" fmla="*/ 0 h 59"/>
                <a:gd name="T2" fmla="*/ 0 w 241"/>
                <a:gd name="T3" fmla="*/ 0 h 59"/>
                <a:gd name="T4" fmla="*/ 0 w 241"/>
                <a:gd name="T5" fmla="*/ 59 h 59"/>
                <a:gd name="T6" fmla="*/ 145 w 241"/>
                <a:gd name="T7" fmla="*/ 59 h 59"/>
                <a:gd name="T8" fmla="*/ 241 w 241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59">
                  <a:moveTo>
                    <a:pt x="241" y="0"/>
                  </a:moveTo>
                  <a:lnTo>
                    <a:pt x="0" y="0"/>
                  </a:lnTo>
                  <a:lnTo>
                    <a:pt x="0" y="59"/>
                  </a:lnTo>
                  <a:lnTo>
                    <a:pt x="145" y="59"/>
                  </a:lnTo>
                  <a:lnTo>
                    <a:pt x="24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Sľíḑé">
              <a:extLst>
                <a:ext uri="{FF2B5EF4-FFF2-40B4-BE49-F238E27FC236}">
                  <a16:creationId xmlns:a16="http://schemas.microsoft.com/office/drawing/2014/main" id="{935B8023-2E7B-4E3E-B19C-F562D2B403C9}"/>
                </a:ext>
              </a:extLst>
            </p:cNvPr>
            <p:cNvSpPr/>
            <p:nvPr/>
          </p:nvSpPr>
          <p:spPr bwMode="auto">
            <a:xfrm>
              <a:off x="4632326" y="2663825"/>
              <a:ext cx="782638" cy="784225"/>
            </a:xfrm>
            <a:custGeom>
              <a:avLst/>
              <a:gdLst>
                <a:gd name="T0" fmla="*/ 559 w 1181"/>
                <a:gd name="T1" fmla="*/ 177 h 1183"/>
                <a:gd name="T2" fmla="*/ 559 w 1181"/>
                <a:gd name="T3" fmla="*/ 177 h 1183"/>
                <a:gd name="T4" fmla="*/ 1 w 1181"/>
                <a:gd name="T5" fmla="*/ 1183 h 1183"/>
                <a:gd name="T6" fmla="*/ 108 w 1181"/>
                <a:gd name="T7" fmla="*/ 688 h 1183"/>
                <a:gd name="T8" fmla="*/ 559 w 1181"/>
                <a:gd name="T9" fmla="*/ 177 h 1183"/>
                <a:gd name="T10" fmla="*/ 559 w 1181"/>
                <a:gd name="T11" fmla="*/ 177 h 1183"/>
                <a:gd name="T12" fmla="*/ 1181 w 1181"/>
                <a:gd name="T13" fmla="*/ 0 h 1183"/>
                <a:gd name="T14" fmla="*/ 563 w 1181"/>
                <a:gd name="T15" fmla="*/ 175 h 1183"/>
                <a:gd name="T16" fmla="*/ 1181 w 1181"/>
                <a:gd name="T17" fmla="*/ 0 h 1183"/>
                <a:gd name="T18" fmla="*/ 1181 w 1181"/>
                <a:gd name="T19" fmla="*/ 0 h 1183"/>
                <a:gd name="T20" fmla="*/ 1181 w 1181"/>
                <a:gd name="T21" fmla="*/ 0 h 1183"/>
                <a:gd name="T22" fmla="*/ 1181 w 1181"/>
                <a:gd name="T23" fmla="*/ 0 h 1183"/>
                <a:gd name="T24" fmla="*/ 1181 w 1181"/>
                <a:gd name="T25" fmla="*/ 0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81" h="1183">
                  <a:moveTo>
                    <a:pt x="559" y="177"/>
                  </a:moveTo>
                  <a:cubicBezTo>
                    <a:pt x="559" y="177"/>
                    <a:pt x="559" y="177"/>
                    <a:pt x="559" y="177"/>
                  </a:cubicBezTo>
                  <a:cubicBezTo>
                    <a:pt x="199" y="401"/>
                    <a:pt x="0" y="787"/>
                    <a:pt x="1" y="1183"/>
                  </a:cubicBezTo>
                  <a:cubicBezTo>
                    <a:pt x="0" y="1012"/>
                    <a:pt x="37" y="843"/>
                    <a:pt x="108" y="688"/>
                  </a:cubicBezTo>
                  <a:cubicBezTo>
                    <a:pt x="202" y="484"/>
                    <a:pt x="354" y="305"/>
                    <a:pt x="559" y="177"/>
                  </a:cubicBezTo>
                  <a:cubicBezTo>
                    <a:pt x="559" y="177"/>
                    <a:pt x="559" y="177"/>
                    <a:pt x="559" y="177"/>
                  </a:cubicBezTo>
                  <a:moveTo>
                    <a:pt x="1181" y="0"/>
                  </a:moveTo>
                  <a:cubicBezTo>
                    <a:pt x="970" y="0"/>
                    <a:pt x="756" y="56"/>
                    <a:pt x="563" y="175"/>
                  </a:cubicBezTo>
                  <a:cubicBezTo>
                    <a:pt x="756" y="56"/>
                    <a:pt x="970" y="0"/>
                    <a:pt x="1181" y="0"/>
                  </a:cubicBezTo>
                  <a:moveTo>
                    <a:pt x="1181" y="0"/>
                  </a:moveTo>
                  <a:cubicBezTo>
                    <a:pt x="1181" y="0"/>
                    <a:pt x="1181" y="0"/>
                    <a:pt x="1181" y="0"/>
                  </a:cubicBezTo>
                  <a:cubicBezTo>
                    <a:pt x="1181" y="0"/>
                    <a:pt x="1181" y="0"/>
                    <a:pt x="1181" y="0"/>
                  </a:cubicBezTo>
                  <a:cubicBezTo>
                    <a:pt x="1181" y="0"/>
                    <a:pt x="1181" y="0"/>
                    <a:pt x="1181" y="0"/>
                  </a:cubicBezTo>
                </a:path>
              </a:pathLst>
            </a:custGeom>
            <a:solidFill>
              <a:srgbClr val="355F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ṣlíḋé">
              <a:extLst>
                <a:ext uri="{FF2B5EF4-FFF2-40B4-BE49-F238E27FC236}">
                  <a16:creationId xmlns:a16="http://schemas.microsoft.com/office/drawing/2014/main" id="{BB06BAA5-3F96-43F9-9422-261D569848A2}"/>
                </a:ext>
              </a:extLst>
            </p:cNvPr>
            <p:cNvSpPr/>
            <p:nvPr/>
          </p:nvSpPr>
          <p:spPr bwMode="auto">
            <a:xfrm>
              <a:off x="4751388" y="3067050"/>
              <a:ext cx="1444625" cy="1162050"/>
            </a:xfrm>
            <a:custGeom>
              <a:avLst/>
              <a:gdLst>
                <a:gd name="T0" fmla="*/ 2153 w 2183"/>
                <a:gd name="T1" fmla="*/ 298 h 1753"/>
                <a:gd name="T2" fmla="*/ 1445 w 2183"/>
                <a:gd name="T3" fmla="*/ 298 h 1753"/>
                <a:gd name="T4" fmla="*/ 621 w 2183"/>
                <a:gd name="T5" fmla="*/ 809 h 1753"/>
                <a:gd name="T6" fmla="*/ 1188 w 2183"/>
                <a:gd name="T7" fmla="*/ 809 h 1753"/>
                <a:gd name="T8" fmla="*/ 1188 w 2183"/>
                <a:gd name="T9" fmla="*/ 952 h 1753"/>
                <a:gd name="T10" fmla="*/ 391 w 2183"/>
                <a:gd name="T11" fmla="*/ 952 h 1753"/>
                <a:gd name="T12" fmla="*/ 0 w 2183"/>
                <a:gd name="T13" fmla="*/ 1195 h 1753"/>
                <a:gd name="T14" fmla="*/ 0 w 2183"/>
                <a:gd name="T15" fmla="*/ 1195 h 1753"/>
                <a:gd name="T16" fmla="*/ 2 w 2183"/>
                <a:gd name="T17" fmla="*/ 1198 h 1753"/>
                <a:gd name="T18" fmla="*/ 5 w 2183"/>
                <a:gd name="T19" fmla="*/ 1203 h 1753"/>
                <a:gd name="T20" fmla="*/ 6 w 2183"/>
                <a:gd name="T21" fmla="*/ 1203 h 1753"/>
                <a:gd name="T22" fmla="*/ 1005 w 2183"/>
                <a:gd name="T23" fmla="*/ 1753 h 1753"/>
                <a:gd name="T24" fmla="*/ 1005 w 2183"/>
                <a:gd name="T25" fmla="*/ 1753 h 1753"/>
                <a:gd name="T26" fmla="*/ 1005 w 2183"/>
                <a:gd name="T27" fmla="*/ 1753 h 1753"/>
                <a:gd name="T28" fmla="*/ 1627 w 2183"/>
                <a:gd name="T29" fmla="*/ 1576 h 1753"/>
                <a:gd name="T30" fmla="*/ 1627 w 2183"/>
                <a:gd name="T31" fmla="*/ 1576 h 1753"/>
                <a:gd name="T32" fmla="*/ 1939 w 2183"/>
                <a:gd name="T33" fmla="*/ 1295 h 1753"/>
                <a:gd name="T34" fmla="*/ 1512 w 2183"/>
                <a:gd name="T35" fmla="*/ 1295 h 1753"/>
                <a:gd name="T36" fmla="*/ 1512 w 2183"/>
                <a:gd name="T37" fmla="*/ 1152 h 1753"/>
                <a:gd name="T38" fmla="*/ 2033 w 2183"/>
                <a:gd name="T39" fmla="*/ 1152 h 1753"/>
                <a:gd name="T40" fmla="*/ 2122 w 2183"/>
                <a:gd name="T41" fmla="*/ 952 h 1753"/>
                <a:gd name="T42" fmla="*/ 1393 w 2183"/>
                <a:gd name="T43" fmla="*/ 952 h 1753"/>
                <a:gd name="T44" fmla="*/ 1393 w 2183"/>
                <a:gd name="T45" fmla="*/ 809 h 1753"/>
                <a:gd name="T46" fmla="*/ 2161 w 2183"/>
                <a:gd name="T47" fmla="*/ 809 h 1753"/>
                <a:gd name="T48" fmla="*/ 2183 w 2183"/>
                <a:gd name="T49" fmla="*/ 638 h 1753"/>
                <a:gd name="T50" fmla="*/ 1690 w 2183"/>
                <a:gd name="T51" fmla="*/ 638 h 1753"/>
                <a:gd name="T52" fmla="*/ 1690 w 2183"/>
                <a:gd name="T53" fmla="*/ 495 h 1753"/>
                <a:gd name="T54" fmla="*/ 2183 w 2183"/>
                <a:gd name="T55" fmla="*/ 495 h 1753"/>
                <a:gd name="T56" fmla="*/ 2153 w 2183"/>
                <a:gd name="T57" fmla="*/ 298 h 1753"/>
                <a:gd name="T58" fmla="*/ 2037 w 2183"/>
                <a:gd name="T59" fmla="*/ 0 h 1753"/>
                <a:gd name="T60" fmla="*/ 1925 w 2183"/>
                <a:gd name="T61" fmla="*/ 0 h 1753"/>
                <a:gd name="T62" fmla="*/ 1675 w 2183"/>
                <a:gd name="T63" fmla="*/ 156 h 1753"/>
                <a:gd name="T64" fmla="*/ 2109 w 2183"/>
                <a:gd name="T65" fmla="*/ 156 h 1753"/>
                <a:gd name="T66" fmla="*/ 2037 w 2183"/>
                <a:gd name="T67" fmla="*/ 0 h 1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83" h="1753">
                  <a:moveTo>
                    <a:pt x="2153" y="298"/>
                  </a:moveTo>
                  <a:cubicBezTo>
                    <a:pt x="1445" y="298"/>
                    <a:pt x="1445" y="298"/>
                    <a:pt x="1445" y="298"/>
                  </a:cubicBezTo>
                  <a:cubicBezTo>
                    <a:pt x="621" y="809"/>
                    <a:pt x="621" y="809"/>
                    <a:pt x="621" y="809"/>
                  </a:cubicBezTo>
                  <a:cubicBezTo>
                    <a:pt x="1188" y="809"/>
                    <a:pt x="1188" y="809"/>
                    <a:pt x="1188" y="809"/>
                  </a:cubicBezTo>
                  <a:cubicBezTo>
                    <a:pt x="1188" y="952"/>
                    <a:pt x="1188" y="952"/>
                    <a:pt x="1188" y="952"/>
                  </a:cubicBezTo>
                  <a:cubicBezTo>
                    <a:pt x="391" y="952"/>
                    <a:pt x="391" y="952"/>
                    <a:pt x="391" y="952"/>
                  </a:cubicBezTo>
                  <a:cubicBezTo>
                    <a:pt x="0" y="1195"/>
                    <a:pt x="0" y="1195"/>
                    <a:pt x="0" y="1195"/>
                  </a:cubicBezTo>
                  <a:cubicBezTo>
                    <a:pt x="0" y="1195"/>
                    <a:pt x="0" y="1195"/>
                    <a:pt x="0" y="1195"/>
                  </a:cubicBezTo>
                  <a:cubicBezTo>
                    <a:pt x="1" y="1196"/>
                    <a:pt x="2" y="1197"/>
                    <a:pt x="2" y="1198"/>
                  </a:cubicBezTo>
                  <a:cubicBezTo>
                    <a:pt x="3" y="1200"/>
                    <a:pt x="4" y="1201"/>
                    <a:pt x="5" y="1203"/>
                  </a:cubicBezTo>
                  <a:cubicBezTo>
                    <a:pt x="5" y="1203"/>
                    <a:pt x="5" y="1203"/>
                    <a:pt x="6" y="1203"/>
                  </a:cubicBezTo>
                  <a:cubicBezTo>
                    <a:pt x="230" y="1558"/>
                    <a:pt x="613" y="1753"/>
                    <a:pt x="1005" y="1753"/>
                  </a:cubicBezTo>
                  <a:cubicBezTo>
                    <a:pt x="1005" y="1753"/>
                    <a:pt x="1005" y="1753"/>
                    <a:pt x="1005" y="1753"/>
                  </a:cubicBezTo>
                  <a:cubicBezTo>
                    <a:pt x="1005" y="1753"/>
                    <a:pt x="1005" y="1753"/>
                    <a:pt x="1005" y="1753"/>
                  </a:cubicBezTo>
                  <a:cubicBezTo>
                    <a:pt x="1218" y="1753"/>
                    <a:pt x="1433" y="1696"/>
                    <a:pt x="1627" y="1576"/>
                  </a:cubicBezTo>
                  <a:cubicBezTo>
                    <a:pt x="1627" y="1576"/>
                    <a:pt x="1627" y="1576"/>
                    <a:pt x="1627" y="1576"/>
                  </a:cubicBezTo>
                  <a:cubicBezTo>
                    <a:pt x="1750" y="1499"/>
                    <a:pt x="1855" y="1403"/>
                    <a:pt x="1939" y="1295"/>
                  </a:cubicBezTo>
                  <a:cubicBezTo>
                    <a:pt x="1512" y="1295"/>
                    <a:pt x="1512" y="1295"/>
                    <a:pt x="1512" y="1295"/>
                  </a:cubicBezTo>
                  <a:cubicBezTo>
                    <a:pt x="1512" y="1152"/>
                    <a:pt x="1512" y="1152"/>
                    <a:pt x="1512" y="1152"/>
                  </a:cubicBezTo>
                  <a:cubicBezTo>
                    <a:pt x="2033" y="1152"/>
                    <a:pt x="2033" y="1152"/>
                    <a:pt x="2033" y="1152"/>
                  </a:cubicBezTo>
                  <a:cubicBezTo>
                    <a:pt x="2069" y="1088"/>
                    <a:pt x="2099" y="1021"/>
                    <a:pt x="2122" y="952"/>
                  </a:cubicBezTo>
                  <a:cubicBezTo>
                    <a:pt x="1393" y="952"/>
                    <a:pt x="1393" y="952"/>
                    <a:pt x="1393" y="952"/>
                  </a:cubicBezTo>
                  <a:cubicBezTo>
                    <a:pt x="1393" y="809"/>
                    <a:pt x="1393" y="809"/>
                    <a:pt x="1393" y="809"/>
                  </a:cubicBezTo>
                  <a:cubicBezTo>
                    <a:pt x="2161" y="809"/>
                    <a:pt x="2161" y="809"/>
                    <a:pt x="2161" y="809"/>
                  </a:cubicBezTo>
                  <a:cubicBezTo>
                    <a:pt x="2173" y="753"/>
                    <a:pt x="2180" y="696"/>
                    <a:pt x="2183" y="638"/>
                  </a:cubicBezTo>
                  <a:cubicBezTo>
                    <a:pt x="1690" y="638"/>
                    <a:pt x="1690" y="638"/>
                    <a:pt x="1690" y="638"/>
                  </a:cubicBezTo>
                  <a:cubicBezTo>
                    <a:pt x="1690" y="495"/>
                    <a:pt x="1690" y="495"/>
                    <a:pt x="1690" y="495"/>
                  </a:cubicBezTo>
                  <a:cubicBezTo>
                    <a:pt x="2183" y="495"/>
                    <a:pt x="2183" y="495"/>
                    <a:pt x="2183" y="495"/>
                  </a:cubicBezTo>
                  <a:cubicBezTo>
                    <a:pt x="2178" y="429"/>
                    <a:pt x="2169" y="363"/>
                    <a:pt x="2153" y="298"/>
                  </a:cubicBezTo>
                  <a:moveTo>
                    <a:pt x="2037" y="0"/>
                  </a:moveTo>
                  <a:cubicBezTo>
                    <a:pt x="1925" y="0"/>
                    <a:pt x="1925" y="0"/>
                    <a:pt x="1925" y="0"/>
                  </a:cubicBezTo>
                  <a:cubicBezTo>
                    <a:pt x="1675" y="156"/>
                    <a:pt x="1675" y="156"/>
                    <a:pt x="1675" y="156"/>
                  </a:cubicBezTo>
                  <a:cubicBezTo>
                    <a:pt x="2109" y="156"/>
                    <a:pt x="2109" y="156"/>
                    <a:pt x="2109" y="156"/>
                  </a:cubicBezTo>
                  <a:cubicBezTo>
                    <a:pt x="2089" y="103"/>
                    <a:pt x="2065" y="51"/>
                    <a:pt x="2037" y="0"/>
                  </a:cubicBezTo>
                </a:path>
              </a:pathLst>
            </a:custGeom>
            <a:solidFill>
              <a:srgbClr val="77B9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ṧḷîḓe">
              <a:extLst>
                <a:ext uri="{FF2B5EF4-FFF2-40B4-BE49-F238E27FC236}">
                  <a16:creationId xmlns:a16="http://schemas.microsoft.com/office/drawing/2014/main" id="{DBC9918F-4253-4CB9-B932-494D4A275BEA}"/>
                </a:ext>
              </a:extLst>
            </p:cNvPr>
            <p:cNvSpPr/>
            <p:nvPr/>
          </p:nvSpPr>
          <p:spPr bwMode="auto">
            <a:xfrm>
              <a:off x="5010151" y="3603625"/>
              <a:ext cx="527050" cy="95250"/>
            </a:xfrm>
            <a:custGeom>
              <a:avLst/>
              <a:gdLst>
                <a:gd name="T0" fmla="*/ 332 w 332"/>
                <a:gd name="T1" fmla="*/ 0 h 60"/>
                <a:gd name="T2" fmla="*/ 96 w 332"/>
                <a:gd name="T3" fmla="*/ 0 h 60"/>
                <a:gd name="T4" fmla="*/ 0 w 332"/>
                <a:gd name="T5" fmla="*/ 60 h 60"/>
                <a:gd name="T6" fmla="*/ 332 w 332"/>
                <a:gd name="T7" fmla="*/ 60 h 60"/>
                <a:gd name="T8" fmla="*/ 332 w 332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60">
                  <a:moveTo>
                    <a:pt x="332" y="0"/>
                  </a:moveTo>
                  <a:lnTo>
                    <a:pt x="96" y="0"/>
                  </a:lnTo>
                  <a:lnTo>
                    <a:pt x="0" y="60"/>
                  </a:lnTo>
                  <a:lnTo>
                    <a:pt x="332" y="60"/>
                  </a:lnTo>
                  <a:lnTo>
                    <a:pt x="332" y="0"/>
                  </a:lnTo>
                  <a:close/>
                </a:path>
              </a:pathLst>
            </a:custGeom>
            <a:solidFill>
              <a:srgbClr val="AAD0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S1iďe">
              <a:extLst>
                <a:ext uri="{FF2B5EF4-FFF2-40B4-BE49-F238E27FC236}">
                  <a16:creationId xmlns:a16="http://schemas.microsoft.com/office/drawing/2014/main" id="{1939DDCC-1179-4EDA-85C6-21D2CEF92EC6}"/>
                </a:ext>
              </a:extLst>
            </p:cNvPr>
            <p:cNvSpPr/>
            <p:nvPr/>
          </p:nvSpPr>
          <p:spPr bwMode="auto">
            <a:xfrm>
              <a:off x="5010151" y="3603625"/>
              <a:ext cx="527050" cy="95250"/>
            </a:xfrm>
            <a:custGeom>
              <a:avLst/>
              <a:gdLst>
                <a:gd name="T0" fmla="*/ 332 w 332"/>
                <a:gd name="T1" fmla="*/ 0 h 60"/>
                <a:gd name="T2" fmla="*/ 96 w 332"/>
                <a:gd name="T3" fmla="*/ 0 h 60"/>
                <a:gd name="T4" fmla="*/ 0 w 332"/>
                <a:gd name="T5" fmla="*/ 60 h 60"/>
                <a:gd name="T6" fmla="*/ 332 w 332"/>
                <a:gd name="T7" fmla="*/ 60 h 60"/>
                <a:gd name="T8" fmla="*/ 332 w 332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60">
                  <a:moveTo>
                    <a:pt x="332" y="0"/>
                  </a:moveTo>
                  <a:lnTo>
                    <a:pt x="96" y="0"/>
                  </a:lnTo>
                  <a:lnTo>
                    <a:pt x="0" y="60"/>
                  </a:lnTo>
                  <a:lnTo>
                    <a:pt x="332" y="60"/>
                  </a:lnTo>
                  <a:lnTo>
                    <a:pt x="3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ísḻiḋé">
              <a:extLst>
                <a:ext uri="{FF2B5EF4-FFF2-40B4-BE49-F238E27FC236}">
                  <a16:creationId xmlns:a16="http://schemas.microsoft.com/office/drawing/2014/main" id="{B929879E-AAD8-4E8D-8C51-808F76DC6727}"/>
                </a:ext>
              </a:extLst>
            </p:cNvPr>
            <p:cNvSpPr/>
            <p:nvPr/>
          </p:nvSpPr>
          <p:spPr bwMode="auto">
            <a:xfrm>
              <a:off x="6026151" y="3033713"/>
              <a:ext cx="73025" cy="33337"/>
            </a:xfrm>
            <a:custGeom>
              <a:avLst/>
              <a:gdLst>
                <a:gd name="T0" fmla="*/ 82 w 112"/>
                <a:gd name="T1" fmla="*/ 0 h 51"/>
                <a:gd name="T2" fmla="*/ 0 w 112"/>
                <a:gd name="T3" fmla="*/ 51 h 51"/>
                <a:gd name="T4" fmla="*/ 112 w 112"/>
                <a:gd name="T5" fmla="*/ 51 h 51"/>
                <a:gd name="T6" fmla="*/ 82 w 112"/>
                <a:gd name="T7" fmla="*/ 0 h 51"/>
                <a:gd name="T8" fmla="*/ 82 w 112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51">
                  <a:moveTo>
                    <a:pt x="82" y="0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03" y="34"/>
                    <a:pt x="93" y="17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</a:path>
              </a:pathLst>
            </a:custGeom>
            <a:solidFill>
              <a:srgbClr val="AAD0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ŝľíďé">
              <a:extLst>
                <a:ext uri="{FF2B5EF4-FFF2-40B4-BE49-F238E27FC236}">
                  <a16:creationId xmlns:a16="http://schemas.microsoft.com/office/drawing/2014/main" id="{2C78C5F7-1F1F-454B-A7D3-61C89851BBC3}"/>
                </a:ext>
              </a:extLst>
            </p:cNvPr>
            <p:cNvSpPr/>
            <p:nvPr/>
          </p:nvSpPr>
          <p:spPr bwMode="auto">
            <a:xfrm>
              <a:off x="5707063" y="3171825"/>
              <a:ext cx="469900" cy="93662"/>
            </a:xfrm>
            <a:custGeom>
              <a:avLst/>
              <a:gdLst>
                <a:gd name="T0" fmla="*/ 664 w 708"/>
                <a:gd name="T1" fmla="*/ 0 h 142"/>
                <a:gd name="T2" fmla="*/ 230 w 708"/>
                <a:gd name="T3" fmla="*/ 0 h 142"/>
                <a:gd name="T4" fmla="*/ 0 w 708"/>
                <a:gd name="T5" fmla="*/ 142 h 142"/>
                <a:gd name="T6" fmla="*/ 708 w 708"/>
                <a:gd name="T7" fmla="*/ 142 h 142"/>
                <a:gd name="T8" fmla="*/ 664 w 708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8" h="142">
                  <a:moveTo>
                    <a:pt x="664" y="0"/>
                  </a:moveTo>
                  <a:cubicBezTo>
                    <a:pt x="230" y="0"/>
                    <a:pt x="230" y="0"/>
                    <a:pt x="230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708" y="142"/>
                    <a:pt x="708" y="142"/>
                    <a:pt x="708" y="142"/>
                  </a:cubicBezTo>
                  <a:cubicBezTo>
                    <a:pt x="697" y="94"/>
                    <a:pt x="682" y="47"/>
                    <a:pt x="664" y="0"/>
                  </a:cubicBezTo>
                </a:path>
              </a:pathLst>
            </a:custGeom>
            <a:solidFill>
              <a:srgbClr val="AAD0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ïşlîḓé">
              <a:extLst>
                <a:ext uri="{FF2B5EF4-FFF2-40B4-BE49-F238E27FC236}">
                  <a16:creationId xmlns:a16="http://schemas.microsoft.com/office/drawing/2014/main" id="{B2DE754A-6FB3-48F1-B37D-E4747E4D7954}"/>
                </a:ext>
              </a:extLst>
            </p:cNvPr>
            <p:cNvSpPr/>
            <p:nvPr/>
          </p:nvSpPr>
          <p:spPr bwMode="auto">
            <a:xfrm>
              <a:off x="5870576" y="3395663"/>
              <a:ext cx="327025" cy="95250"/>
            </a:xfrm>
            <a:custGeom>
              <a:avLst/>
              <a:gdLst>
                <a:gd name="T0" fmla="*/ 493 w 495"/>
                <a:gd name="T1" fmla="*/ 0 h 143"/>
                <a:gd name="T2" fmla="*/ 0 w 495"/>
                <a:gd name="T3" fmla="*/ 0 h 143"/>
                <a:gd name="T4" fmla="*/ 0 w 495"/>
                <a:gd name="T5" fmla="*/ 143 h 143"/>
                <a:gd name="T6" fmla="*/ 493 w 495"/>
                <a:gd name="T7" fmla="*/ 143 h 143"/>
                <a:gd name="T8" fmla="*/ 495 w 495"/>
                <a:gd name="T9" fmla="*/ 76 h 143"/>
                <a:gd name="T10" fmla="*/ 493 w 495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5" h="143">
                  <a:moveTo>
                    <a:pt x="49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493" y="143"/>
                    <a:pt x="493" y="143"/>
                    <a:pt x="493" y="143"/>
                  </a:cubicBezTo>
                  <a:cubicBezTo>
                    <a:pt x="495" y="120"/>
                    <a:pt x="495" y="98"/>
                    <a:pt x="495" y="76"/>
                  </a:cubicBezTo>
                  <a:cubicBezTo>
                    <a:pt x="495" y="50"/>
                    <a:pt x="494" y="25"/>
                    <a:pt x="493" y="0"/>
                  </a:cubicBezTo>
                </a:path>
              </a:pathLst>
            </a:custGeom>
            <a:solidFill>
              <a:srgbClr val="AAD0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$1îḓè">
              <a:extLst>
                <a:ext uri="{FF2B5EF4-FFF2-40B4-BE49-F238E27FC236}">
                  <a16:creationId xmlns:a16="http://schemas.microsoft.com/office/drawing/2014/main" id="{1890BE11-A310-4CED-8D78-4E8CD4AB85BD}"/>
                </a:ext>
              </a:extLst>
            </p:cNvPr>
            <p:cNvSpPr/>
            <p:nvPr/>
          </p:nvSpPr>
          <p:spPr bwMode="auto">
            <a:xfrm>
              <a:off x="5673726" y="3603625"/>
              <a:ext cx="508000" cy="95250"/>
            </a:xfrm>
            <a:custGeom>
              <a:avLst/>
              <a:gdLst>
                <a:gd name="T0" fmla="*/ 768 w 768"/>
                <a:gd name="T1" fmla="*/ 0 h 143"/>
                <a:gd name="T2" fmla="*/ 0 w 768"/>
                <a:gd name="T3" fmla="*/ 0 h 143"/>
                <a:gd name="T4" fmla="*/ 0 w 768"/>
                <a:gd name="T5" fmla="*/ 143 h 143"/>
                <a:gd name="T6" fmla="*/ 729 w 768"/>
                <a:gd name="T7" fmla="*/ 143 h 143"/>
                <a:gd name="T8" fmla="*/ 768 w 768"/>
                <a:gd name="T9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8" h="143">
                  <a:moveTo>
                    <a:pt x="76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729" y="143"/>
                    <a:pt x="729" y="143"/>
                    <a:pt x="729" y="143"/>
                  </a:cubicBezTo>
                  <a:cubicBezTo>
                    <a:pt x="745" y="97"/>
                    <a:pt x="758" y="49"/>
                    <a:pt x="768" y="0"/>
                  </a:cubicBezTo>
                </a:path>
              </a:pathLst>
            </a:custGeom>
            <a:solidFill>
              <a:srgbClr val="AAD0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išḻíḑè">
              <a:extLst>
                <a:ext uri="{FF2B5EF4-FFF2-40B4-BE49-F238E27FC236}">
                  <a16:creationId xmlns:a16="http://schemas.microsoft.com/office/drawing/2014/main" id="{335F0CAC-08F8-4BA7-81AE-79A5BE9AB36B}"/>
                </a:ext>
              </a:extLst>
            </p:cNvPr>
            <p:cNvSpPr/>
            <p:nvPr/>
          </p:nvSpPr>
          <p:spPr bwMode="auto">
            <a:xfrm>
              <a:off x="5751513" y="3830638"/>
              <a:ext cx="346075" cy="95250"/>
            </a:xfrm>
            <a:custGeom>
              <a:avLst/>
              <a:gdLst>
                <a:gd name="T0" fmla="*/ 521 w 521"/>
                <a:gd name="T1" fmla="*/ 0 h 143"/>
                <a:gd name="T2" fmla="*/ 0 w 521"/>
                <a:gd name="T3" fmla="*/ 0 h 143"/>
                <a:gd name="T4" fmla="*/ 0 w 521"/>
                <a:gd name="T5" fmla="*/ 143 h 143"/>
                <a:gd name="T6" fmla="*/ 427 w 521"/>
                <a:gd name="T7" fmla="*/ 143 h 143"/>
                <a:gd name="T8" fmla="*/ 521 w 521"/>
                <a:gd name="T9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1" h="143">
                  <a:moveTo>
                    <a:pt x="52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427" y="143"/>
                    <a:pt x="427" y="143"/>
                    <a:pt x="427" y="143"/>
                  </a:cubicBezTo>
                  <a:cubicBezTo>
                    <a:pt x="462" y="97"/>
                    <a:pt x="494" y="49"/>
                    <a:pt x="521" y="0"/>
                  </a:cubicBezTo>
                </a:path>
              </a:pathLst>
            </a:custGeom>
            <a:solidFill>
              <a:srgbClr val="AAD0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s1idè">
              <a:extLst>
                <a:ext uri="{FF2B5EF4-FFF2-40B4-BE49-F238E27FC236}">
                  <a16:creationId xmlns:a16="http://schemas.microsoft.com/office/drawing/2014/main" id="{96D80BCB-9FCD-4E39-8E30-DE41A25204EE}"/>
                </a:ext>
              </a:extLst>
            </p:cNvPr>
            <p:cNvSpPr/>
            <p:nvPr/>
          </p:nvSpPr>
          <p:spPr bwMode="auto">
            <a:xfrm>
              <a:off x="4751388" y="3033713"/>
              <a:ext cx="1446213" cy="1195387"/>
            </a:xfrm>
            <a:custGeom>
              <a:avLst/>
              <a:gdLst>
                <a:gd name="T0" fmla="*/ 1005 w 2185"/>
                <a:gd name="T1" fmla="*/ 1804 h 1804"/>
                <a:gd name="T2" fmla="*/ 1005 w 2185"/>
                <a:gd name="T3" fmla="*/ 1804 h 1804"/>
                <a:gd name="T4" fmla="*/ 1005 w 2185"/>
                <a:gd name="T5" fmla="*/ 1804 h 1804"/>
                <a:gd name="T6" fmla="*/ 1005 w 2185"/>
                <a:gd name="T7" fmla="*/ 1804 h 1804"/>
                <a:gd name="T8" fmla="*/ 1627 w 2185"/>
                <a:gd name="T9" fmla="*/ 1627 h 1804"/>
                <a:gd name="T10" fmla="*/ 1005 w 2185"/>
                <a:gd name="T11" fmla="*/ 1804 h 1804"/>
                <a:gd name="T12" fmla="*/ 1627 w 2185"/>
                <a:gd name="T13" fmla="*/ 1627 h 1804"/>
                <a:gd name="T14" fmla="*/ 5 w 2185"/>
                <a:gd name="T15" fmla="*/ 1254 h 1804"/>
                <a:gd name="T16" fmla="*/ 6 w 2185"/>
                <a:gd name="T17" fmla="*/ 1254 h 1804"/>
                <a:gd name="T18" fmla="*/ 5 w 2185"/>
                <a:gd name="T19" fmla="*/ 1254 h 1804"/>
                <a:gd name="T20" fmla="*/ 0 w 2185"/>
                <a:gd name="T21" fmla="*/ 1246 h 1804"/>
                <a:gd name="T22" fmla="*/ 2 w 2185"/>
                <a:gd name="T23" fmla="*/ 1249 h 1804"/>
                <a:gd name="T24" fmla="*/ 0 w 2185"/>
                <a:gd name="T25" fmla="*/ 1246 h 1804"/>
                <a:gd name="T26" fmla="*/ 2007 w 2185"/>
                <a:gd name="T27" fmla="*/ 0 h 1804"/>
                <a:gd name="T28" fmla="*/ 2007 w 2185"/>
                <a:gd name="T29" fmla="*/ 0 h 1804"/>
                <a:gd name="T30" fmla="*/ 2007 w 2185"/>
                <a:gd name="T31" fmla="*/ 0 h 1804"/>
                <a:gd name="T32" fmla="*/ 2007 w 2185"/>
                <a:gd name="T33" fmla="*/ 0 h 1804"/>
                <a:gd name="T34" fmla="*/ 2007 w 2185"/>
                <a:gd name="T35" fmla="*/ 0 h 1804"/>
                <a:gd name="T36" fmla="*/ 2037 w 2185"/>
                <a:gd name="T37" fmla="*/ 51 h 1804"/>
                <a:gd name="T38" fmla="*/ 2109 w 2185"/>
                <a:gd name="T39" fmla="*/ 207 h 1804"/>
                <a:gd name="T40" fmla="*/ 2153 w 2185"/>
                <a:gd name="T41" fmla="*/ 349 h 1804"/>
                <a:gd name="T42" fmla="*/ 2183 w 2185"/>
                <a:gd name="T43" fmla="*/ 546 h 1804"/>
                <a:gd name="T44" fmla="*/ 2185 w 2185"/>
                <a:gd name="T45" fmla="*/ 622 h 1804"/>
                <a:gd name="T46" fmla="*/ 2007 w 2185"/>
                <a:gd name="T47" fmla="*/ 0 h 1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85" h="1804">
                  <a:moveTo>
                    <a:pt x="1005" y="1804"/>
                  </a:moveTo>
                  <a:cubicBezTo>
                    <a:pt x="1005" y="1804"/>
                    <a:pt x="1005" y="1804"/>
                    <a:pt x="1005" y="1804"/>
                  </a:cubicBezTo>
                  <a:cubicBezTo>
                    <a:pt x="1005" y="1804"/>
                    <a:pt x="1005" y="1804"/>
                    <a:pt x="1005" y="1804"/>
                  </a:cubicBezTo>
                  <a:cubicBezTo>
                    <a:pt x="1005" y="1804"/>
                    <a:pt x="1005" y="1804"/>
                    <a:pt x="1005" y="1804"/>
                  </a:cubicBezTo>
                  <a:moveTo>
                    <a:pt x="1627" y="1627"/>
                  </a:moveTo>
                  <a:cubicBezTo>
                    <a:pt x="1433" y="1747"/>
                    <a:pt x="1218" y="1804"/>
                    <a:pt x="1005" y="1804"/>
                  </a:cubicBezTo>
                  <a:cubicBezTo>
                    <a:pt x="1218" y="1804"/>
                    <a:pt x="1433" y="1747"/>
                    <a:pt x="1627" y="1627"/>
                  </a:cubicBezTo>
                  <a:moveTo>
                    <a:pt x="5" y="1254"/>
                  </a:moveTo>
                  <a:cubicBezTo>
                    <a:pt x="5" y="1254"/>
                    <a:pt x="5" y="1254"/>
                    <a:pt x="6" y="1254"/>
                  </a:cubicBezTo>
                  <a:cubicBezTo>
                    <a:pt x="5" y="1254"/>
                    <a:pt x="5" y="1254"/>
                    <a:pt x="5" y="1254"/>
                  </a:cubicBezTo>
                  <a:moveTo>
                    <a:pt x="0" y="1246"/>
                  </a:moveTo>
                  <a:cubicBezTo>
                    <a:pt x="1" y="1247"/>
                    <a:pt x="2" y="1248"/>
                    <a:pt x="2" y="1249"/>
                  </a:cubicBezTo>
                  <a:cubicBezTo>
                    <a:pt x="2" y="1248"/>
                    <a:pt x="1" y="1247"/>
                    <a:pt x="0" y="1246"/>
                  </a:cubicBezTo>
                  <a:moveTo>
                    <a:pt x="2007" y="0"/>
                  </a:moveTo>
                  <a:cubicBezTo>
                    <a:pt x="2007" y="0"/>
                    <a:pt x="2007" y="0"/>
                    <a:pt x="2007" y="0"/>
                  </a:cubicBezTo>
                  <a:cubicBezTo>
                    <a:pt x="2007" y="0"/>
                    <a:pt x="2007" y="0"/>
                    <a:pt x="2007" y="0"/>
                  </a:cubicBezTo>
                  <a:cubicBezTo>
                    <a:pt x="2007" y="0"/>
                    <a:pt x="2007" y="0"/>
                    <a:pt x="2007" y="0"/>
                  </a:cubicBezTo>
                  <a:cubicBezTo>
                    <a:pt x="2007" y="0"/>
                    <a:pt x="2007" y="0"/>
                    <a:pt x="2007" y="0"/>
                  </a:cubicBezTo>
                  <a:cubicBezTo>
                    <a:pt x="2018" y="17"/>
                    <a:pt x="2028" y="34"/>
                    <a:pt x="2037" y="51"/>
                  </a:cubicBezTo>
                  <a:cubicBezTo>
                    <a:pt x="2065" y="102"/>
                    <a:pt x="2089" y="154"/>
                    <a:pt x="2109" y="207"/>
                  </a:cubicBezTo>
                  <a:cubicBezTo>
                    <a:pt x="2127" y="254"/>
                    <a:pt x="2142" y="301"/>
                    <a:pt x="2153" y="349"/>
                  </a:cubicBezTo>
                  <a:cubicBezTo>
                    <a:pt x="2169" y="414"/>
                    <a:pt x="2178" y="480"/>
                    <a:pt x="2183" y="546"/>
                  </a:cubicBezTo>
                  <a:cubicBezTo>
                    <a:pt x="2184" y="571"/>
                    <a:pt x="2185" y="596"/>
                    <a:pt x="2185" y="622"/>
                  </a:cubicBezTo>
                  <a:cubicBezTo>
                    <a:pt x="2185" y="409"/>
                    <a:pt x="2128" y="194"/>
                    <a:pt x="2007" y="0"/>
                  </a:cubicBezTo>
                </a:path>
              </a:pathLst>
            </a:custGeom>
            <a:solidFill>
              <a:srgbClr val="2F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ṡľîḓé">
              <a:extLst>
                <a:ext uri="{FF2B5EF4-FFF2-40B4-BE49-F238E27FC236}">
                  <a16:creationId xmlns:a16="http://schemas.microsoft.com/office/drawing/2014/main" id="{EC6FB156-34E5-49A8-B558-593E6234AA5F}"/>
                </a:ext>
              </a:extLst>
            </p:cNvPr>
            <p:cNvSpPr/>
            <p:nvPr/>
          </p:nvSpPr>
          <p:spPr bwMode="auto">
            <a:xfrm>
              <a:off x="4791076" y="2701925"/>
              <a:ext cx="842963" cy="604837"/>
            </a:xfrm>
            <a:custGeom>
              <a:avLst/>
              <a:gdLst>
                <a:gd name="T0" fmla="*/ 69 w 1272"/>
                <a:gd name="T1" fmla="*/ 909 h 914"/>
                <a:gd name="T2" fmla="*/ 4 w 1272"/>
                <a:gd name="T3" fmla="*/ 823 h 914"/>
                <a:gd name="T4" fmla="*/ 356 w 1272"/>
                <a:gd name="T5" fmla="*/ 268 h 914"/>
                <a:gd name="T6" fmla="*/ 1214 w 1272"/>
                <a:gd name="T7" fmla="*/ 183 h 914"/>
                <a:gd name="T8" fmla="*/ 1254 w 1272"/>
                <a:gd name="T9" fmla="*/ 287 h 914"/>
                <a:gd name="T10" fmla="*/ 1151 w 1272"/>
                <a:gd name="T11" fmla="*/ 327 h 914"/>
                <a:gd name="T12" fmla="*/ 439 w 1272"/>
                <a:gd name="T13" fmla="*/ 402 h 914"/>
                <a:gd name="T14" fmla="*/ 160 w 1272"/>
                <a:gd name="T15" fmla="*/ 840 h 914"/>
                <a:gd name="T16" fmla="*/ 74 w 1272"/>
                <a:gd name="T17" fmla="*/ 910 h 914"/>
                <a:gd name="T18" fmla="*/ 69 w 1272"/>
                <a:gd name="T19" fmla="*/ 909 h 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2" h="914">
                  <a:moveTo>
                    <a:pt x="69" y="909"/>
                  </a:moveTo>
                  <a:cubicBezTo>
                    <a:pt x="28" y="902"/>
                    <a:pt x="0" y="865"/>
                    <a:pt x="4" y="823"/>
                  </a:cubicBezTo>
                  <a:cubicBezTo>
                    <a:pt x="6" y="809"/>
                    <a:pt x="46" y="462"/>
                    <a:pt x="356" y="268"/>
                  </a:cubicBezTo>
                  <a:cubicBezTo>
                    <a:pt x="788" y="0"/>
                    <a:pt x="1197" y="176"/>
                    <a:pt x="1214" y="183"/>
                  </a:cubicBezTo>
                  <a:cubicBezTo>
                    <a:pt x="1254" y="201"/>
                    <a:pt x="1272" y="247"/>
                    <a:pt x="1254" y="287"/>
                  </a:cubicBezTo>
                  <a:cubicBezTo>
                    <a:pt x="1237" y="327"/>
                    <a:pt x="1191" y="345"/>
                    <a:pt x="1151" y="327"/>
                  </a:cubicBezTo>
                  <a:cubicBezTo>
                    <a:pt x="1137" y="321"/>
                    <a:pt x="798" y="178"/>
                    <a:pt x="439" y="402"/>
                  </a:cubicBezTo>
                  <a:cubicBezTo>
                    <a:pt x="193" y="555"/>
                    <a:pt x="161" y="837"/>
                    <a:pt x="160" y="840"/>
                  </a:cubicBezTo>
                  <a:cubicBezTo>
                    <a:pt x="156" y="883"/>
                    <a:pt x="117" y="914"/>
                    <a:pt x="74" y="910"/>
                  </a:cubicBezTo>
                  <a:cubicBezTo>
                    <a:pt x="72" y="910"/>
                    <a:pt x="71" y="909"/>
                    <a:pt x="69" y="90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şḻiḓé">
              <a:extLst>
                <a:ext uri="{FF2B5EF4-FFF2-40B4-BE49-F238E27FC236}">
                  <a16:creationId xmlns:a16="http://schemas.microsoft.com/office/drawing/2014/main" id="{1956C129-B71E-447E-9FF9-486EC14FA67C}"/>
                </a:ext>
              </a:extLst>
            </p:cNvPr>
            <p:cNvSpPr/>
            <p:nvPr/>
          </p:nvSpPr>
          <p:spPr bwMode="auto">
            <a:xfrm>
              <a:off x="4540251" y="2571750"/>
              <a:ext cx="1741488" cy="1741487"/>
            </a:xfrm>
            <a:custGeom>
              <a:avLst/>
              <a:gdLst>
                <a:gd name="T0" fmla="*/ 1114 w 2631"/>
                <a:gd name="T1" fmla="*/ 2520 h 2631"/>
                <a:gd name="T2" fmla="*/ 112 w 2631"/>
                <a:gd name="T3" fmla="*/ 1114 h 2631"/>
                <a:gd name="T4" fmla="*/ 1517 w 2631"/>
                <a:gd name="T5" fmla="*/ 111 h 2631"/>
                <a:gd name="T6" fmla="*/ 2520 w 2631"/>
                <a:gd name="T7" fmla="*/ 1517 h 2631"/>
                <a:gd name="T8" fmla="*/ 1114 w 2631"/>
                <a:gd name="T9" fmla="*/ 2520 h 2631"/>
                <a:gd name="T10" fmla="*/ 1508 w 2631"/>
                <a:gd name="T11" fmla="*/ 168 h 2631"/>
                <a:gd name="T12" fmla="*/ 168 w 2631"/>
                <a:gd name="T13" fmla="*/ 1123 h 2631"/>
                <a:gd name="T14" fmla="*/ 1124 w 2631"/>
                <a:gd name="T15" fmla="*/ 2464 h 2631"/>
                <a:gd name="T16" fmla="*/ 2464 w 2631"/>
                <a:gd name="T17" fmla="*/ 1508 h 2631"/>
                <a:gd name="T18" fmla="*/ 1508 w 2631"/>
                <a:gd name="T19" fmla="*/ 168 h 2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31" h="2631">
                  <a:moveTo>
                    <a:pt x="1114" y="2520"/>
                  </a:moveTo>
                  <a:cubicBezTo>
                    <a:pt x="450" y="2409"/>
                    <a:pt x="0" y="1778"/>
                    <a:pt x="112" y="1114"/>
                  </a:cubicBezTo>
                  <a:cubicBezTo>
                    <a:pt x="223" y="450"/>
                    <a:pt x="853" y="0"/>
                    <a:pt x="1517" y="111"/>
                  </a:cubicBezTo>
                  <a:cubicBezTo>
                    <a:pt x="2181" y="222"/>
                    <a:pt x="2631" y="853"/>
                    <a:pt x="2520" y="1517"/>
                  </a:cubicBezTo>
                  <a:cubicBezTo>
                    <a:pt x="2409" y="2181"/>
                    <a:pt x="1778" y="2631"/>
                    <a:pt x="1114" y="2520"/>
                  </a:cubicBezTo>
                  <a:close/>
                  <a:moveTo>
                    <a:pt x="1508" y="168"/>
                  </a:moveTo>
                  <a:cubicBezTo>
                    <a:pt x="875" y="62"/>
                    <a:pt x="274" y="491"/>
                    <a:pt x="168" y="1123"/>
                  </a:cubicBezTo>
                  <a:cubicBezTo>
                    <a:pt x="62" y="1756"/>
                    <a:pt x="491" y="2358"/>
                    <a:pt x="1124" y="2464"/>
                  </a:cubicBezTo>
                  <a:cubicBezTo>
                    <a:pt x="1757" y="2570"/>
                    <a:pt x="2358" y="2141"/>
                    <a:pt x="2464" y="1508"/>
                  </a:cubicBezTo>
                  <a:cubicBezTo>
                    <a:pt x="2569" y="875"/>
                    <a:pt x="2141" y="274"/>
                    <a:pt x="1508" y="168"/>
                  </a:cubicBezTo>
                  <a:close/>
                </a:path>
              </a:pathLst>
            </a:custGeom>
            <a:solidFill>
              <a:srgbClr val="0938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ïṣlíďê">
              <a:extLst>
                <a:ext uri="{FF2B5EF4-FFF2-40B4-BE49-F238E27FC236}">
                  <a16:creationId xmlns:a16="http://schemas.microsoft.com/office/drawing/2014/main" id="{835A64C1-63B0-453B-9000-F41B4C093EB1}"/>
                </a:ext>
              </a:extLst>
            </p:cNvPr>
            <p:cNvSpPr/>
            <p:nvPr/>
          </p:nvSpPr>
          <p:spPr bwMode="auto">
            <a:xfrm>
              <a:off x="3043238" y="3922713"/>
              <a:ext cx="1382713" cy="1054100"/>
            </a:xfrm>
            <a:custGeom>
              <a:avLst/>
              <a:gdLst>
                <a:gd name="T0" fmla="*/ 99 w 2087"/>
                <a:gd name="T1" fmla="*/ 1377 h 1594"/>
                <a:gd name="T2" fmla="*/ 190 w 2087"/>
                <a:gd name="T3" fmla="*/ 920 h 1594"/>
                <a:gd name="T4" fmla="*/ 1539 w 2087"/>
                <a:gd name="T5" fmla="*/ 92 h 1594"/>
                <a:gd name="T6" fmla="*/ 1988 w 2087"/>
                <a:gd name="T7" fmla="*/ 218 h 1594"/>
                <a:gd name="T8" fmla="*/ 1897 w 2087"/>
                <a:gd name="T9" fmla="*/ 675 h 1594"/>
                <a:gd name="T10" fmla="*/ 547 w 2087"/>
                <a:gd name="T11" fmla="*/ 1503 h 1594"/>
                <a:gd name="T12" fmla="*/ 99 w 2087"/>
                <a:gd name="T13" fmla="*/ 1377 h 1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7" h="1594">
                  <a:moveTo>
                    <a:pt x="99" y="1377"/>
                  </a:moveTo>
                  <a:cubicBezTo>
                    <a:pt x="0" y="1216"/>
                    <a:pt x="41" y="1011"/>
                    <a:pt x="190" y="920"/>
                  </a:cubicBezTo>
                  <a:cubicBezTo>
                    <a:pt x="1539" y="92"/>
                    <a:pt x="1539" y="92"/>
                    <a:pt x="1539" y="92"/>
                  </a:cubicBezTo>
                  <a:cubicBezTo>
                    <a:pt x="1688" y="0"/>
                    <a:pt x="1889" y="57"/>
                    <a:pt x="1988" y="218"/>
                  </a:cubicBezTo>
                  <a:cubicBezTo>
                    <a:pt x="2087" y="379"/>
                    <a:pt x="2046" y="584"/>
                    <a:pt x="1897" y="675"/>
                  </a:cubicBezTo>
                  <a:cubicBezTo>
                    <a:pt x="547" y="1503"/>
                    <a:pt x="547" y="1503"/>
                    <a:pt x="547" y="1503"/>
                  </a:cubicBezTo>
                  <a:cubicBezTo>
                    <a:pt x="399" y="1594"/>
                    <a:pt x="198" y="1538"/>
                    <a:pt x="99" y="1377"/>
                  </a:cubicBezTo>
                  <a:close/>
                </a:path>
              </a:pathLst>
            </a:custGeom>
            <a:solidFill>
              <a:srgbClr val="101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38356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yscall</a:t>
            </a:r>
            <a:r>
              <a:rPr lang="en-US" altLang="zh-CN" dirty="0"/>
              <a:t> Rewriter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SH-2021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9E49CC4-CC61-4DF0-9B12-E110F0D88BE8}"/>
              </a:ext>
            </a:extLst>
          </p:cNvPr>
          <p:cNvGrpSpPr/>
          <p:nvPr/>
        </p:nvGrpSpPr>
        <p:grpSpPr>
          <a:xfrm>
            <a:off x="1059213" y="1477272"/>
            <a:ext cx="4344035" cy="3894631"/>
            <a:chOff x="1059213" y="1477272"/>
            <a:chExt cx="4344035" cy="3894631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72B92D5-121A-4221-8D43-36CDD50FA454}"/>
                </a:ext>
              </a:extLst>
            </p:cNvPr>
            <p:cNvSpPr txBox="1"/>
            <p:nvPr/>
          </p:nvSpPr>
          <p:spPr>
            <a:xfrm>
              <a:off x="1059213" y="2047916"/>
              <a:ext cx="4344035" cy="3323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#include &lt;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stdio.h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&gt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#include &lt;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stdlib.h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&gt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int main()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{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char buf1[40]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FILE *f1 =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fopen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("t1", "r")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FILE *f2 =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fopen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("t2", "r")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FILE *f3 =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fopen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("t3", "w")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fgets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(buf1, 20, f1)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fgets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(buf1 + 15, 20, f2)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fputs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(buf1, f3)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fclose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(f1)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fclose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(f2)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fclose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(f3)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}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E040A15-A3AB-4E7D-8F37-AABDE98DC501}"/>
                </a:ext>
              </a:extLst>
            </p:cNvPr>
            <p:cNvSpPr txBox="1"/>
            <p:nvPr/>
          </p:nvSpPr>
          <p:spPr>
            <a:xfrm>
              <a:off x="2186026" y="1477272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/>
                <a:t>测试代码</a:t>
              </a:r>
              <a:endParaRPr lang="en-US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7DD3C56-C2F7-4176-9BD4-B5BE2F3429D8}"/>
              </a:ext>
            </a:extLst>
          </p:cNvPr>
          <p:cNvGrpSpPr/>
          <p:nvPr/>
        </p:nvGrpSpPr>
        <p:grpSpPr>
          <a:xfrm>
            <a:off x="5305105" y="1477272"/>
            <a:ext cx="5816181" cy="4665230"/>
            <a:chOff x="6438581" y="1477272"/>
            <a:chExt cx="4344035" cy="466523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EF078FB-0C7F-43A5-8EE4-32E1E468075B}"/>
                </a:ext>
              </a:extLst>
            </p:cNvPr>
            <p:cNvSpPr txBox="1"/>
            <p:nvPr/>
          </p:nvSpPr>
          <p:spPr>
            <a:xfrm>
              <a:off x="8056601" y="1477272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/>
                <a:t>测试结果</a:t>
              </a:r>
              <a:endParaRPr lang="en-US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9123A85-9C2C-41E9-A0D5-66297839963F}"/>
                </a:ext>
              </a:extLst>
            </p:cNvPr>
            <p:cNvSpPr txBox="1"/>
            <p:nvPr/>
          </p:nvSpPr>
          <p:spPr>
            <a:xfrm>
              <a:off x="6438581" y="1741297"/>
              <a:ext cx="4344035" cy="44012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...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***** test.asm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48d5ca:       be 81 00 00 00          mov  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$0x81,%esi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48d5cf:       b8 ca 00 00 00          mov  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$0xca,%eax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48d5d4:       0f 05               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syscall</a:t>
              </a:r>
              <a:endParaRPr lang="en-US" sz="1400" dirty="0">
                <a:latin typeface="Cascadia Code" panose="020B0609020000020004" pitchFamily="49" charset="0"/>
                <a:cs typeface="Cascadia Code" panose="020B0609020000020004" pitchFamily="49" charset="0"/>
              </a:endParaRP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48d5d6:       48 83 7c 24 18 00   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cmpq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$0x0,0x18(%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rsp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)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***** TEST_FAST.ASM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48d5ca:       be 81 00 00 00          mov  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$0x81,%esi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48d5cf:       e9 a3 4c da ff      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jmpq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232277 &lt;catch_hook+0x23221f&gt;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48d5d4:       90                  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nop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48d5d5:       90                  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nop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48d5d6:       48 83 7c 24 18 00       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cmpq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  $0x0,0x18(%</a:t>
              </a:r>
              <a:r>
                <a:rPr lang="en-US" sz="1400" dirty="0" err="1">
                  <a:latin typeface="Cascadia Code" panose="020B0609020000020004" pitchFamily="49" charset="0"/>
                  <a:cs typeface="Cascadia Code" panose="020B0609020000020004" pitchFamily="49" charset="0"/>
                </a:rPr>
                <a:t>rsp</a:t>
              </a:r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)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*****</a:t>
              </a:r>
            </a:p>
            <a:p>
              <a:r>
                <a:rPr lang="en-US" sz="1400" dirty="0">
                  <a:latin typeface="Cascadia Code" panose="020B0609020000020004" pitchFamily="49" charset="0"/>
                  <a:cs typeface="Cascadia Code" panose="020B0609020000020004" pitchFamily="49" charset="0"/>
                </a:rPr>
                <a:t>...</a:t>
              </a:r>
            </a:p>
          </p:txBody>
        </p:sp>
      </p:grpSp>
      <p:grpSp>
        <p:nvGrpSpPr>
          <p:cNvPr id="96" name="组合 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9D9B01F-F227-4286-B5E1-DE07C0C4E8D9}"/>
              </a:ext>
            </a:extLst>
          </p:cNvPr>
          <p:cNvGrpSpPr>
            <a:grpSpLocks noChangeAspect="1"/>
          </p:cNvGrpSpPr>
          <p:nvPr/>
        </p:nvGrpSpPr>
        <p:grpSpPr>
          <a:xfrm>
            <a:off x="2950903" y="4952901"/>
            <a:ext cx="1859222" cy="946745"/>
            <a:chOff x="2400999" y="1547447"/>
            <a:chExt cx="7390002" cy="3763107"/>
          </a:xfrm>
        </p:grpSpPr>
        <p:sp>
          <p:nvSpPr>
            <p:cNvPr id="97" name="ísľíḓe">
              <a:extLst>
                <a:ext uri="{FF2B5EF4-FFF2-40B4-BE49-F238E27FC236}">
                  <a16:creationId xmlns:a16="http://schemas.microsoft.com/office/drawing/2014/main" id="{D10D89C8-DBCD-4245-AE78-3C567A5E1249}"/>
                </a:ext>
              </a:extLst>
            </p:cNvPr>
            <p:cNvSpPr/>
            <p:nvPr/>
          </p:nvSpPr>
          <p:spPr bwMode="auto">
            <a:xfrm>
              <a:off x="2400999" y="3673978"/>
              <a:ext cx="7390002" cy="1636576"/>
            </a:xfrm>
            <a:custGeom>
              <a:avLst/>
              <a:gdLst>
                <a:gd name="T0" fmla="*/ 317 w 1749"/>
                <a:gd name="T1" fmla="*/ 83 h 387"/>
                <a:gd name="T2" fmla="*/ 77 w 1749"/>
                <a:gd name="T3" fmla="*/ 125 h 387"/>
                <a:gd name="T4" fmla="*/ 165 w 1749"/>
                <a:gd name="T5" fmla="*/ 278 h 387"/>
                <a:gd name="T6" fmla="*/ 718 w 1749"/>
                <a:gd name="T7" fmla="*/ 345 h 387"/>
                <a:gd name="T8" fmla="*/ 1302 w 1749"/>
                <a:gd name="T9" fmla="*/ 314 h 387"/>
                <a:gd name="T10" fmla="*/ 1747 w 1749"/>
                <a:gd name="T11" fmla="*/ 175 h 387"/>
                <a:gd name="T12" fmla="*/ 1316 w 1749"/>
                <a:gd name="T13" fmla="*/ 70 h 387"/>
                <a:gd name="T14" fmla="*/ 1050 w 1749"/>
                <a:gd name="T15" fmla="*/ 43 h 387"/>
                <a:gd name="T16" fmla="*/ 710 w 1749"/>
                <a:gd name="T17" fmla="*/ 35 h 387"/>
                <a:gd name="T18" fmla="*/ 317 w 1749"/>
                <a:gd name="T19" fmla="*/ 83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9" h="387">
                  <a:moveTo>
                    <a:pt x="317" y="83"/>
                  </a:moveTo>
                  <a:cubicBezTo>
                    <a:pt x="317" y="83"/>
                    <a:pt x="154" y="72"/>
                    <a:pt x="77" y="125"/>
                  </a:cubicBezTo>
                  <a:cubicBezTo>
                    <a:pt x="0" y="177"/>
                    <a:pt x="26" y="271"/>
                    <a:pt x="165" y="278"/>
                  </a:cubicBezTo>
                  <a:cubicBezTo>
                    <a:pt x="304" y="284"/>
                    <a:pt x="417" y="387"/>
                    <a:pt x="718" y="345"/>
                  </a:cubicBezTo>
                  <a:cubicBezTo>
                    <a:pt x="1019" y="303"/>
                    <a:pt x="1011" y="286"/>
                    <a:pt x="1302" y="314"/>
                  </a:cubicBezTo>
                  <a:cubicBezTo>
                    <a:pt x="1593" y="343"/>
                    <a:pt x="1746" y="255"/>
                    <a:pt x="1747" y="175"/>
                  </a:cubicBezTo>
                  <a:cubicBezTo>
                    <a:pt x="1749" y="96"/>
                    <a:pt x="1623" y="63"/>
                    <a:pt x="1316" y="70"/>
                  </a:cubicBezTo>
                  <a:cubicBezTo>
                    <a:pt x="1192" y="72"/>
                    <a:pt x="1115" y="58"/>
                    <a:pt x="1050" y="43"/>
                  </a:cubicBezTo>
                  <a:cubicBezTo>
                    <a:pt x="951" y="21"/>
                    <a:pt x="878" y="0"/>
                    <a:pt x="710" y="35"/>
                  </a:cubicBezTo>
                  <a:cubicBezTo>
                    <a:pt x="465" y="88"/>
                    <a:pt x="317" y="83"/>
                    <a:pt x="317" y="83"/>
                  </a:cubicBezTo>
                </a:path>
              </a:pathLst>
            </a:custGeom>
            <a:solidFill>
              <a:srgbClr val="F1E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98" name="išļîḋè">
              <a:extLst>
                <a:ext uri="{FF2B5EF4-FFF2-40B4-BE49-F238E27FC236}">
                  <a16:creationId xmlns:a16="http://schemas.microsoft.com/office/drawing/2014/main" id="{8A7C3C12-C628-4516-AE35-6F0A1BB8762B}"/>
                </a:ext>
              </a:extLst>
            </p:cNvPr>
            <p:cNvSpPr/>
            <p:nvPr/>
          </p:nvSpPr>
          <p:spPr bwMode="auto">
            <a:xfrm>
              <a:off x="5025618" y="3436116"/>
              <a:ext cx="2504672" cy="1040902"/>
            </a:xfrm>
            <a:custGeom>
              <a:avLst/>
              <a:gdLst>
                <a:gd name="T0" fmla="*/ 545 w 593"/>
                <a:gd name="T1" fmla="*/ 9 h 246"/>
                <a:gd name="T2" fmla="*/ 177 w 593"/>
                <a:gd name="T3" fmla="*/ 9 h 246"/>
                <a:gd name="T4" fmla="*/ 50 w 593"/>
                <a:gd name="T5" fmla="*/ 9 h 246"/>
                <a:gd name="T6" fmla="*/ 18 w 593"/>
                <a:gd name="T7" fmla="*/ 121 h 246"/>
                <a:gd name="T8" fmla="*/ 49 w 593"/>
                <a:gd name="T9" fmla="*/ 241 h 246"/>
                <a:gd name="T10" fmla="*/ 174 w 593"/>
                <a:gd name="T11" fmla="*/ 241 h 246"/>
                <a:gd name="T12" fmla="*/ 552 w 593"/>
                <a:gd name="T13" fmla="*/ 241 h 246"/>
                <a:gd name="T14" fmla="*/ 552 w 593"/>
                <a:gd name="T15" fmla="*/ 241 h 246"/>
                <a:gd name="T16" fmla="*/ 553 w 593"/>
                <a:gd name="T17" fmla="*/ 241 h 246"/>
                <a:gd name="T18" fmla="*/ 555 w 593"/>
                <a:gd name="T19" fmla="*/ 240 h 246"/>
                <a:gd name="T20" fmla="*/ 582 w 593"/>
                <a:gd name="T21" fmla="*/ 195 h 246"/>
                <a:gd name="T22" fmla="*/ 582 w 593"/>
                <a:gd name="T23" fmla="*/ 96 h 246"/>
                <a:gd name="T24" fmla="*/ 545 w 593"/>
                <a:gd name="T25" fmla="*/ 9 h 246"/>
                <a:gd name="T26" fmla="*/ 550 w 593"/>
                <a:gd name="T27" fmla="*/ 219 h 246"/>
                <a:gd name="T28" fmla="*/ 287 w 593"/>
                <a:gd name="T29" fmla="*/ 219 h 246"/>
                <a:gd name="T30" fmla="*/ 113 w 593"/>
                <a:gd name="T31" fmla="*/ 219 h 246"/>
                <a:gd name="T32" fmla="*/ 39 w 593"/>
                <a:gd name="T33" fmla="*/ 202 h 246"/>
                <a:gd name="T34" fmla="*/ 39 w 593"/>
                <a:gd name="T35" fmla="*/ 125 h 246"/>
                <a:gd name="T36" fmla="*/ 39 w 593"/>
                <a:gd name="T37" fmla="*/ 44 h 246"/>
                <a:gd name="T38" fmla="*/ 119 w 593"/>
                <a:gd name="T39" fmla="*/ 31 h 246"/>
                <a:gd name="T40" fmla="*/ 468 w 593"/>
                <a:gd name="T41" fmla="*/ 31 h 246"/>
                <a:gd name="T42" fmla="*/ 561 w 593"/>
                <a:gd name="T43" fmla="*/ 48 h 246"/>
                <a:gd name="T44" fmla="*/ 561 w 593"/>
                <a:gd name="T45" fmla="*/ 142 h 246"/>
                <a:gd name="T46" fmla="*/ 550 w 593"/>
                <a:gd name="T47" fmla="*/ 219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93" h="246">
                  <a:moveTo>
                    <a:pt x="545" y="9"/>
                  </a:moveTo>
                  <a:cubicBezTo>
                    <a:pt x="424" y="0"/>
                    <a:pt x="299" y="9"/>
                    <a:pt x="177" y="9"/>
                  </a:cubicBezTo>
                  <a:cubicBezTo>
                    <a:pt x="136" y="9"/>
                    <a:pt x="91" y="4"/>
                    <a:pt x="50" y="9"/>
                  </a:cubicBezTo>
                  <a:cubicBezTo>
                    <a:pt x="2" y="15"/>
                    <a:pt x="18" y="87"/>
                    <a:pt x="18" y="121"/>
                  </a:cubicBezTo>
                  <a:cubicBezTo>
                    <a:pt x="18" y="155"/>
                    <a:pt x="0" y="234"/>
                    <a:pt x="49" y="241"/>
                  </a:cubicBezTo>
                  <a:cubicBezTo>
                    <a:pt x="89" y="246"/>
                    <a:pt x="134" y="241"/>
                    <a:pt x="174" y="241"/>
                  </a:cubicBezTo>
                  <a:cubicBezTo>
                    <a:pt x="300" y="241"/>
                    <a:pt x="426" y="241"/>
                    <a:pt x="552" y="241"/>
                  </a:cubicBezTo>
                  <a:cubicBezTo>
                    <a:pt x="552" y="241"/>
                    <a:pt x="552" y="241"/>
                    <a:pt x="552" y="241"/>
                  </a:cubicBezTo>
                  <a:cubicBezTo>
                    <a:pt x="552" y="241"/>
                    <a:pt x="553" y="241"/>
                    <a:pt x="553" y="241"/>
                  </a:cubicBezTo>
                  <a:cubicBezTo>
                    <a:pt x="554" y="241"/>
                    <a:pt x="555" y="240"/>
                    <a:pt x="555" y="240"/>
                  </a:cubicBezTo>
                  <a:cubicBezTo>
                    <a:pt x="579" y="234"/>
                    <a:pt x="582" y="217"/>
                    <a:pt x="582" y="195"/>
                  </a:cubicBezTo>
                  <a:cubicBezTo>
                    <a:pt x="583" y="162"/>
                    <a:pt x="582" y="129"/>
                    <a:pt x="582" y="96"/>
                  </a:cubicBezTo>
                  <a:cubicBezTo>
                    <a:pt x="582" y="60"/>
                    <a:pt x="593" y="13"/>
                    <a:pt x="545" y="9"/>
                  </a:cubicBezTo>
                  <a:moveTo>
                    <a:pt x="550" y="219"/>
                  </a:moveTo>
                  <a:cubicBezTo>
                    <a:pt x="462" y="219"/>
                    <a:pt x="375" y="219"/>
                    <a:pt x="287" y="219"/>
                  </a:cubicBezTo>
                  <a:cubicBezTo>
                    <a:pt x="229" y="219"/>
                    <a:pt x="171" y="219"/>
                    <a:pt x="113" y="219"/>
                  </a:cubicBezTo>
                  <a:cubicBezTo>
                    <a:pt x="89" y="219"/>
                    <a:pt x="45" y="230"/>
                    <a:pt x="39" y="202"/>
                  </a:cubicBezTo>
                  <a:cubicBezTo>
                    <a:pt x="34" y="179"/>
                    <a:pt x="39" y="149"/>
                    <a:pt x="39" y="125"/>
                  </a:cubicBezTo>
                  <a:cubicBezTo>
                    <a:pt x="39" y="102"/>
                    <a:pt x="32" y="66"/>
                    <a:pt x="39" y="44"/>
                  </a:cubicBezTo>
                  <a:cubicBezTo>
                    <a:pt x="47" y="20"/>
                    <a:pt x="98" y="31"/>
                    <a:pt x="119" y="31"/>
                  </a:cubicBezTo>
                  <a:cubicBezTo>
                    <a:pt x="235" y="31"/>
                    <a:pt x="352" y="31"/>
                    <a:pt x="468" y="31"/>
                  </a:cubicBezTo>
                  <a:cubicBezTo>
                    <a:pt x="495" y="31"/>
                    <a:pt x="553" y="17"/>
                    <a:pt x="561" y="48"/>
                  </a:cubicBezTo>
                  <a:cubicBezTo>
                    <a:pt x="568" y="76"/>
                    <a:pt x="561" y="114"/>
                    <a:pt x="561" y="142"/>
                  </a:cubicBezTo>
                  <a:cubicBezTo>
                    <a:pt x="561" y="158"/>
                    <a:pt x="571" y="212"/>
                    <a:pt x="550" y="219"/>
                  </a:cubicBezTo>
                </a:path>
              </a:pathLst>
            </a:cu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99" name="îşḷíḍè">
              <a:extLst>
                <a:ext uri="{FF2B5EF4-FFF2-40B4-BE49-F238E27FC236}">
                  <a16:creationId xmlns:a16="http://schemas.microsoft.com/office/drawing/2014/main" id="{7C64295B-7D81-4894-BD5A-55A973D2E4E6}"/>
                </a:ext>
              </a:extLst>
            </p:cNvPr>
            <p:cNvSpPr/>
            <p:nvPr/>
          </p:nvSpPr>
          <p:spPr bwMode="auto">
            <a:xfrm>
              <a:off x="6843131" y="3145395"/>
              <a:ext cx="256160" cy="971780"/>
            </a:xfrm>
            <a:custGeom>
              <a:avLst/>
              <a:gdLst>
                <a:gd name="T0" fmla="*/ 61 w 61"/>
                <a:gd name="T1" fmla="*/ 9 h 230"/>
                <a:gd name="T2" fmla="*/ 50 w 61"/>
                <a:gd name="T3" fmla="*/ 0 h 230"/>
                <a:gd name="T4" fmla="*/ 11 w 61"/>
                <a:gd name="T5" fmla="*/ 0 h 230"/>
                <a:gd name="T6" fmla="*/ 0 w 61"/>
                <a:gd name="T7" fmla="*/ 9 h 230"/>
                <a:gd name="T8" fmla="*/ 9 w 61"/>
                <a:gd name="T9" fmla="*/ 17 h 230"/>
                <a:gd name="T10" fmla="*/ 9 w 61"/>
                <a:gd name="T11" fmla="*/ 21 h 230"/>
                <a:gd name="T12" fmla="*/ 9 w 61"/>
                <a:gd name="T13" fmla="*/ 213 h 230"/>
                <a:gd name="T14" fmla="*/ 30 w 61"/>
                <a:gd name="T15" fmla="*/ 230 h 230"/>
                <a:gd name="T16" fmla="*/ 51 w 61"/>
                <a:gd name="T17" fmla="*/ 213 h 230"/>
                <a:gd name="T18" fmla="*/ 51 w 61"/>
                <a:gd name="T19" fmla="*/ 21 h 230"/>
                <a:gd name="T20" fmla="*/ 51 w 61"/>
                <a:gd name="T21" fmla="*/ 17 h 230"/>
                <a:gd name="T22" fmla="*/ 61 w 61"/>
                <a:gd name="T23" fmla="*/ 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230">
                  <a:moveTo>
                    <a:pt x="61" y="9"/>
                  </a:moveTo>
                  <a:cubicBezTo>
                    <a:pt x="61" y="4"/>
                    <a:pt x="56" y="0"/>
                    <a:pt x="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3"/>
                    <a:pt x="4" y="16"/>
                    <a:pt x="9" y="17"/>
                  </a:cubicBezTo>
                  <a:cubicBezTo>
                    <a:pt x="9" y="18"/>
                    <a:pt x="9" y="19"/>
                    <a:pt x="9" y="21"/>
                  </a:cubicBezTo>
                  <a:cubicBezTo>
                    <a:pt x="9" y="213"/>
                    <a:pt x="9" y="213"/>
                    <a:pt x="9" y="213"/>
                  </a:cubicBezTo>
                  <a:cubicBezTo>
                    <a:pt x="9" y="222"/>
                    <a:pt x="18" y="230"/>
                    <a:pt x="30" y="230"/>
                  </a:cubicBezTo>
                  <a:cubicBezTo>
                    <a:pt x="42" y="230"/>
                    <a:pt x="51" y="222"/>
                    <a:pt x="51" y="21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0"/>
                    <a:pt x="51" y="18"/>
                    <a:pt x="51" y="17"/>
                  </a:cubicBezTo>
                  <a:cubicBezTo>
                    <a:pt x="56" y="17"/>
                    <a:pt x="61" y="13"/>
                    <a:pt x="61" y="9"/>
                  </a:cubicBezTo>
                </a:path>
              </a:pathLst>
            </a:cu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00" name="îṡḷiḋè">
              <a:extLst>
                <a:ext uri="{FF2B5EF4-FFF2-40B4-BE49-F238E27FC236}">
                  <a16:creationId xmlns:a16="http://schemas.microsoft.com/office/drawing/2014/main" id="{E129C672-F091-45A8-97F0-6436A25A9433}"/>
                </a:ext>
              </a:extLst>
            </p:cNvPr>
            <p:cNvSpPr/>
            <p:nvPr/>
          </p:nvSpPr>
          <p:spPr bwMode="auto">
            <a:xfrm>
              <a:off x="6914287" y="3745134"/>
              <a:ext cx="109783" cy="321216"/>
            </a:xfrm>
            <a:custGeom>
              <a:avLst/>
              <a:gdLst>
                <a:gd name="T0" fmla="*/ 0 w 26"/>
                <a:gd name="T1" fmla="*/ 0 h 76"/>
                <a:gd name="T2" fmla="*/ 0 w 26"/>
                <a:gd name="T3" fmla="*/ 64 h 76"/>
                <a:gd name="T4" fmla="*/ 13 w 26"/>
                <a:gd name="T5" fmla="*/ 76 h 76"/>
                <a:gd name="T6" fmla="*/ 26 w 26"/>
                <a:gd name="T7" fmla="*/ 64 h 76"/>
                <a:gd name="T8" fmla="*/ 26 w 26"/>
                <a:gd name="T9" fmla="*/ 0 h 76"/>
                <a:gd name="T10" fmla="*/ 0 w 26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76">
                  <a:moveTo>
                    <a:pt x="0" y="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71"/>
                    <a:pt x="6" y="76"/>
                    <a:pt x="13" y="76"/>
                  </a:cubicBezTo>
                  <a:cubicBezTo>
                    <a:pt x="20" y="76"/>
                    <a:pt x="26" y="71"/>
                    <a:pt x="26" y="64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01" name="íslïḍe">
              <a:extLst>
                <a:ext uri="{FF2B5EF4-FFF2-40B4-BE49-F238E27FC236}">
                  <a16:creationId xmlns:a16="http://schemas.microsoft.com/office/drawing/2014/main" id="{58C144E9-2752-44E4-8137-90F42E3D880D}"/>
                </a:ext>
              </a:extLst>
            </p:cNvPr>
            <p:cNvSpPr/>
            <p:nvPr/>
          </p:nvSpPr>
          <p:spPr bwMode="auto">
            <a:xfrm>
              <a:off x="6973244" y="3212485"/>
              <a:ext cx="46760" cy="489957"/>
            </a:xfrm>
            <a:custGeom>
              <a:avLst/>
              <a:gdLst>
                <a:gd name="T0" fmla="*/ 6 w 11"/>
                <a:gd name="T1" fmla="*/ 0 h 116"/>
                <a:gd name="T2" fmla="*/ 0 w 11"/>
                <a:gd name="T3" fmla="*/ 5 h 116"/>
                <a:gd name="T4" fmla="*/ 0 w 11"/>
                <a:gd name="T5" fmla="*/ 110 h 116"/>
                <a:gd name="T6" fmla="*/ 6 w 11"/>
                <a:gd name="T7" fmla="*/ 116 h 116"/>
                <a:gd name="T8" fmla="*/ 11 w 11"/>
                <a:gd name="T9" fmla="*/ 110 h 116"/>
                <a:gd name="T10" fmla="*/ 11 w 11"/>
                <a:gd name="T11" fmla="*/ 5 h 116"/>
                <a:gd name="T12" fmla="*/ 6 w 11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16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40"/>
                    <a:pt x="0" y="75"/>
                    <a:pt x="0" y="110"/>
                  </a:cubicBezTo>
                  <a:cubicBezTo>
                    <a:pt x="0" y="114"/>
                    <a:pt x="3" y="116"/>
                    <a:pt x="6" y="116"/>
                  </a:cubicBezTo>
                  <a:cubicBezTo>
                    <a:pt x="9" y="116"/>
                    <a:pt x="11" y="114"/>
                    <a:pt x="11" y="110"/>
                  </a:cubicBezTo>
                  <a:cubicBezTo>
                    <a:pt x="11" y="75"/>
                    <a:pt x="11" y="40"/>
                    <a:pt x="11" y="5"/>
                  </a:cubicBezTo>
                  <a:cubicBezTo>
                    <a:pt x="11" y="2"/>
                    <a:pt x="9" y="0"/>
                    <a:pt x="6" y="0"/>
                  </a:cubicBezTo>
                </a:path>
              </a:pathLst>
            </a:custGeom>
            <a:solidFill>
              <a:srgbClr val="E7E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02" name="ïṥļïdè">
              <a:extLst>
                <a:ext uri="{FF2B5EF4-FFF2-40B4-BE49-F238E27FC236}">
                  <a16:creationId xmlns:a16="http://schemas.microsoft.com/office/drawing/2014/main" id="{283B8FF6-2BE2-488C-B066-7EDCC6EA267E}"/>
                </a:ext>
              </a:extLst>
            </p:cNvPr>
            <p:cNvSpPr/>
            <p:nvPr/>
          </p:nvSpPr>
          <p:spPr bwMode="auto">
            <a:xfrm>
              <a:off x="5938441" y="3145395"/>
              <a:ext cx="254127" cy="971780"/>
            </a:xfrm>
            <a:custGeom>
              <a:avLst/>
              <a:gdLst>
                <a:gd name="T0" fmla="*/ 60 w 60"/>
                <a:gd name="T1" fmla="*/ 9 h 230"/>
                <a:gd name="T2" fmla="*/ 49 w 60"/>
                <a:gd name="T3" fmla="*/ 0 h 230"/>
                <a:gd name="T4" fmla="*/ 11 w 60"/>
                <a:gd name="T5" fmla="*/ 0 h 230"/>
                <a:gd name="T6" fmla="*/ 0 w 60"/>
                <a:gd name="T7" fmla="*/ 9 h 230"/>
                <a:gd name="T8" fmla="*/ 9 w 60"/>
                <a:gd name="T9" fmla="*/ 17 h 230"/>
                <a:gd name="T10" fmla="*/ 8 w 60"/>
                <a:gd name="T11" fmla="*/ 21 h 230"/>
                <a:gd name="T12" fmla="*/ 8 w 60"/>
                <a:gd name="T13" fmla="*/ 213 h 230"/>
                <a:gd name="T14" fmla="*/ 30 w 60"/>
                <a:gd name="T15" fmla="*/ 230 h 230"/>
                <a:gd name="T16" fmla="*/ 51 w 60"/>
                <a:gd name="T17" fmla="*/ 213 h 230"/>
                <a:gd name="T18" fmla="*/ 51 w 60"/>
                <a:gd name="T19" fmla="*/ 21 h 230"/>
                <a:gd name="T20" fmla="*/ 50 w 60"/>
                <a:gd name="T21" fmla="*/ 17 h 230"/>
                <a:gd name="T22" fmla="*/ 60 w 60"/>
                <a:gd name="T23" fmla="*/ 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230">
                  <a:moveTo>
                    <a:pt x="60" y="9"/>
                  </a:moveTo>
                  <a:cubicBezTo>
                    <a:pt x="60" y="4"/>
                    <a:pt x="55" y="0"/>
                    <a:pt x="4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3"/>
                    <a:pt x="4" y="16"/>
                    <a:pt x="9" y="17"/>
                  </a:cubicBezTo>
                  <a:cubicBezTo>
                    <a:pt x="9" y="18"/>
                    <a:pt x="8" y="19"/>
                    <a:pt x="8" y="21"/>
                  </a:cubicBezTo>
                  <a:cubicBezTo>
                    <a:pt x="8" y="213"/>
                    <a:pt x="8" y="213"/>
                    <a:pt x="8" y="213"/>
                  </a:cubicBezTo>
                  <a:cubicBezTo>
                    <a:pt x="8" y="222"/>
                    <a:pt x="18" y="230"/>
                    <a:pt x="30" y="230"/>
                  </a:cubicBezTo>
                  <a:cubicBezTo>
                    <a:pt x="41" y="230"/>
                    <a:pt x="51" y="222"/>
                    <a:pt x="51" y="21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0"/>
                    <a:pt x="51" y="18"/>
                    <a:pt x="50" y="17"/>
                  </a:cubicBezTo>
                  <a:cubicBezTo>
                    <a:pt x="56" y="17"/>
                    <a:pt x="60" y="13"/>
                    <a:pt x="60" y="9"/>
                  </a:cubicBezTo>
                </a:path>
              </a:pathLst>
            </a:cu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03" name="î$ļídé">
              <a:extLst>
                <a:ext uri="{FF2B5EF4-FFF2-40B4-BE49-F238E27FC236}">
                  <a16:creationId xmlns:a16="http://schemas.microsoft.com/office/drawing/2014/main" id="{B2C48794-6499-4F71-8093-43DFCCDF9830}"/>
                </a:ext>
              </a:extLst>
            </p:cNvPr>
            <p:cNvSpPr/>
            <p:nvPr/>
          </p:nvSpPr>
          <p:spPr bwMode="auto">
            <a:xfrm>
              <a:off x="6009596" y="3745134"/>
              <a:ext cx="105717" cy="321216"/>
            </a:xfrm>
            <a:custGeom>
              <a:avLst/>
              <a:gdLst>
                <a:gd name="T0" fmla="*/ 0 w 25"/>
                <a:gd name="T1" fmla="*/ 0 h 76"/>
                <a:gd name="T2" fmla="*/ 0 w 25"/>
                <a:gd name="T3" fmla="*/ 64 h 76"/>
                <a:gd name="T4" fmla="*/ 13 w 25"/>
                <a:gd name="T5" fmla="*/ 76 h 76"/>
                <a:gd name="T6" fmla="*/ 25 w 25"/>
                <a:gd name="T7" fmla="*/ 64 h 76"/>
                <a:gd name="T8" fmla="*/ 25 w 25"/>
                <a:gd name="T9" fmla="*/ 0 h 76"/>
                <a:gd name="T10" fmla="*/ 0 w 25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76">
                  <a:moveTo>
                    <a:pt x="0" y="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71"/>
                    <a:pt x="5" y="76"/>
                    <a:pt x="13" y="76"/>
                  </a:cubicBezTo>
                  <a:cubicBezTo>
                    <a:pt x="20" y="76"/>
                    <a:pt x="25" y="71"/>
                    <a:pt x="25" y="64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04" name="ï$liḑè">
              <a:extLst>
                <a:ext uri="{FF2B5EF4-FFF2-40B4-BE49-F238E27FC236}">
                  <a16:creationId xmlns:a16="http://schemas.microsoft.com/office/drawing/2014/main" id="{B041D82A-6292-41CA-A13B-82F145C20698}"/>
                </a:ext>
              </a:extLst>
            </p:cNvPr>
            <p:cNvSpPr/>
            <p:nvPr/>
          </p:nvSpPr>
          <p:spPr bwMode="auto">
            <a:xfrm>
              <a:off x="6068554" y="3212485"/>
              <a:ext cx="46760" cy="489957"/>
            </a:xfrm>
            <a:custGeom>
              <a:avLst/>
              <a:gdLst>
                <a:gd name="T0" fmla="*/ 6 w 11"/>
                <a:gd name="T1" fmla="*/ 0 h 116"/>
                <a:gd name="T2" fmla="*/ 0 w 11"/>
                <a:gd name="T3" fmla="*/ 5 h 116"/>
                <a:gd name="T4" fmla="*/ 0 w 11"/>
                <a:gd name="T5" fmla="*/ 110 h 116"/>
                <a:gd name="T6" fmla="*/ 6 w 11"/>
                <a:gd name="T7" fmla="*/ 116 h 116"/>
                <a:gd name="T8" fmla="*/ 11 w 11"/>
                <a:gd name="T9" fmla="*/ 110 h 116"/>
                <a:gd name="T10" fmla="*/ 11 w 11"/>
                <a:gd name="T11" fmla="*/ 5 h 116"/>
                <a:gd name="T12" fmla="*/ 6 w 11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16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40"/>
                    <a:pt x="0" y="75"/>
                    <a:pt x="0" y="110"/>
                  </a:cubicBezTo>
                  <a:cubicBezTo>
                    <a:pt x="0" y="114"/>
                    <a:pt x="3" y="116"/>
                    <a:pt x="6" y="116"/>
                  </a:cubicBezTo>
                  <a:cubicBezTo>
                    <a:pt x="9" y="116"/>
                    <a:pt x="11" y="114"/>
                    <a:pt x="11" y="110"/>
                  </a:cubicBezTo>
                  <a:cubicBezTo>
                    <a:pt x="11" y="75"/>
                    <a:pt x="11" y="40"/>
                    <a:pt x="11" y="5"/>
                  </a:cubicBezTo>
                  <a:cubicBezTo>
                    <a:pt x="11" y="2"/>
                    <a:pt x="9" y="0"/>
                    <a:pt x="6" y="0"/>
                  </a:cubicBezTo>
                </a:path>
              </a:pathLst>
            </a:custGeom>
            <a:solidFill>
              <a:srgbClr val="EBE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05" name="ïṣḷïḑe">
              <a:extLst>
                <a:ext uri="{FF2B5EF4-FFF2-40B4-BE49-F238E27FC236}">
                  <a16:creationId xmlns:a16="http://schemas.microsoft.com/office/drawing/2014/main" id="{B7C5389F-9D6F-4986-991D-30D9659CDEA1}"/>
                </a:ext>
              </a:extLst>
            </p:cNvPr>
            <p:cNvSpPr/>
            <p:nvPr/>
          </p:nvSpPr>
          <p:spPr bwMode="auto">
            <a:xfrm>
              <a:off x="6381638" y="3145395"/>
              <a:ext cx="254127" cy="971780"/>
            </a:xfrm>
            <a:custGeom>
              <a:avLst/>
              <a:gdLst>
                <a:gd name="T0" fmla="*/ 60 w 60"/>
                <a:gd name="T1" fmla="*/ 9 h 230"/>
                <a:gd name="T2" fmla="*/ 49 w 60"/>
                <a:gd name="T3" fmla="*/ 0 h 230"/>
                <a:gd name="T4" fmla="*/ 11 w 60"/>
                <a:gd name="T5" fmla="*/ 0 h 230"/>
                <a:gd name="T6" fmla="*/ 0 w 60"/>
                <a:gd name="T7" fmla="*/ 9 h 230"/>
                <a:gd name="T8" fmla="*/ 9 w 60"/>
                <a:gd name="T9" fmla="*/ 17 h 230"/>
                <a:gd name="T10" fmla="*/ 9 w 60"/>
                <a:gd name="T11" fmla="*/ 21 h 230"/>
                <a:gd name="T12" fmla="*/ 9 w 60"/>
                <a:gd name="T13" fmla="*/ 213 h 230"/>
                <a:gd name="T14" fmla="*/ 30 w 60"/>
                <a:gd name="T15" fmla="*/ 230 h 230"/>
                <a:gd name="T16" fmla="*/ 51 w 60"/>
                <a:gd name="T17" fmla="*/ 213 h 230"/>
                <a:gd name="T18" fmla="*/ 51 w 60"/>
                <a:gd name="T19" fmla="*/ 21 h 230"/>
                <a:gd name="T20" fmla="*/ 50 w 60"/>
                <a:gd name="T21" fmla="*/ 17 h 230"/>
                <a:gd name="T22" fmla="*/ 60 w 60"/>
                <a:gd name="T23" fmla="*/ 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230">
                  <a:moveTo>
                    <a:pt x="60" y="9"/>
                  </a:moveTo>
                  <a:cubicBezTo>
                    <a:pt x="60" y="4"/>
                    <a:pt x="55" y="0"/>
                    <a:pt x="4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3"/>
                    <a:pt x="4" y="16"/>
                    <a:pt x="9" y="17"/>
                  </a:cubicBezTo>
                  <a:cubicBezTo>
                    <a:pt x="9" y="18"/>
                    <a:pt x="9" y="19"/>
                    <a:pt x="9" y="21"/>
                  </a:cubicBezTo>
                  <a:cubicBezTo>
                    <a:pt x="9" y="213"/>
                    <a:pt x="9" y="213"/>
                    <a:pt x="9" y="213"/>
                  </a:cubicBezTo>
                  <a:cubicBezTo>
                    <a:pt x="9" y="222"/>
                    <a:pt x="18" y="230"/>
                    <a:pt x="30" y="230"/>
                  </a:cubicBezTo>
                  <a:cubicBezTo>
                    <a:pt x="41" y="230"/>
                    <a:pt x="51" y="222"/>
                    <a:pt x="51" y="21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0"/>
                    <a:pt x="51" y="18"/>
                    <a:pt x="50" y="17"/>
                  </a:cubicBezTo>
                  <a:cubicBezTo>
                    <a:pt x="56" y="17"/>
                    <a:pt x="60" y="13"/>
                    <a:pt x="60" y="9"/>
                  </a:cubicBezTo>
                </a:path>
              </a:pathLst>
            </a:cu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06" name="i$ḻïďé">
              <a:extLst>
                <a:ext uri="{FF2B5EF4-FFF2-40B4-BE49-F238E27FC236}">
                  <a16:creationId xmlns:a16="http://schemas.microsoft.com/office/drawing/2014/main" id="{825D210F-2C2A-447C-BF73-4D796E13DC21}"/>
                </a:ext>
              </a:extLst>
            </p:cNvPr>
            <p:cNvSpPr/>
            <p:nvPr/>
          </p:nvSpPr>
          <p:spPr bwMode="auto">
            <a:xfrm>
              <a:off x="6521915" y="3212485"/>
              <a:ext cx="44726" cy="489957"/>
            </a:xfrm>
            <a:custGeom>
              <a:avLst/>
              <a:gdLst>
                <a:gd name="T0" fmla="*/ 5 w 11"/>
                <a:gd name="T1" fmla="*/ 0 h 116"/>
                <a:gd name="T2" fmla="*/ 0 w 11"/>
                <a:gd name="T3" fmla="*/ 5 h 116"/>
                <a:gd name="T4" fmla="*/ 0 w 11"/>
                <a:gd name="T5" fmla="*/ 110 h 116"/>
                <a:gd name="T6" fmla="*/ 5 w 11"/>
                <a:gd name="T7" fmla="*/ 116 h 116"/>
                <a:gd name="T8" fmla="*/ 11 w 11"/>
                <a:gd name="T9" fmla="*/ 110 h 116"/>
                <a:gd name="T10" fmla="*/ 11 w 11"/>
                <a:gd name="T11" fmla="*/ 5 h 116"/>
                <a:gd name="T12" fmla="*/ 5 w 11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16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40"/>
                    <a:pt x="0" y="75"/>
                    <a:pt x="0" y="110"/>
                  </a:cubicBezTo>
                  <a:cubicBezTo>
                    <a:pt x="0" y="114"/>
                    <a:pt x="2" y="116"/>
                    <a:pt x="5" y="116"/>
                  </a:cubicBezTo>
                  <a:cubicBezTo>
                    <a:pt x="8" y="116"/>
                    <a:pt x="11" y="114"/>
                    <a:pt x="11" y="110"/>
                  </a:cubicBezTo>
                  <a:cubicBezTo>
                    <a:pt x="11" y="75"/>
                    <a:pt x="11" y="40"/>
                    <a:pt x="11" y="5"/>
                  </a:cubicBezTo>
                  <a:cubicBezTo>
                    <a:pt x="11" y="2"/>
                    <a:pt x="8" y="0"/>
                    <a:pt x="5" y="0"/>
                  </a:cubicBezTo>
                </a:path>
              </a:pathLst>
            </a:custGeom>
            <a:solidFill>
              <a:srgbClr val="E5E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07" name="ïSľíḓé">
              <a:extLst>
                <a:ext uri="{FF2B5EF4-FFF2-40B4-BE49-F238E27FC236}">
                  <a16:creationId xmlns:a16="http://schemas.microsoft.com/office/drawing/2014/main" id="{2F4CBBB9-2492-4C75-A873-C4ACAE27F94C}"/>
                </a:ext>
              </a:extLst>
            </p:cNvPr>
            <p:cNvSpPr/>
            <p:nvPr/>
          </p:nvSpPr>
          <p:spPr bwMode="auto">
            <a:xfrm>
              <a:off x="6448727" y="3584526"/>
              <a:ext cx="117915" cy="485891"/>
            </a:xfrm>
            <a:custGeom>
              <a:avLst/>
              <a:gdLst>
                <a:gd name="T0" fmla="*/ 0 w 28"/>
                <a:gd name="T1" fmla="*/ 0 h 115"/>
                <a:gd name="T2" fmla="*/ 0 w 28"/>
                <a:gd name="T3" fmla="*/ 39 h 115"/>
                <a:gd name="T4" fmla="*/ 0 w 28"/>
                <a:gd name="T5" fmla="*/ 65 h 115"/>
                <a:gd name="T6" fmla="*/ 0 w 28"/>
                <a:gd name="T7" fmla="*/ 103 h 115"/>
                <a:gd name="T8" fmla="*/ 14 w 28"/>
                <a:gd name="T9" fmla="*/ 115 h 115"/>
                <a:gd name="T10" fmla="*/ 28 w 28"/>
                <a:gd name="T11" fmla="*/ 103 h 115"/>
                <a:gd name="T12" fmla="*/ 28 w 28"/>
                <a:gd name="T13" fmla="*/ 65 h 115"/>
                <a:gd name="T14" fmla="*/ 28 w 28"/>
                <a:gd name="T15" fmla="*/ 39 h 115"/>
                <a:gd name="T16" fmla="*/ 28 w 28"/>
                <a:gd name="T17" fmla="*/ 0 h 115"/>
                <a:gd name="T18" fmla="*/ 0 w 28"/>
                <a:gd name="T1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15">
                  <a:moveTo>
                    <a:pt x="0" y="0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10"/>
                    <a:pt x="6" y="115"/>
                    <a:pt x="14" y="115"/>
                  </a:cubicBezTo>
                  <a:cubicBezTo>
                    <a:pt x="21" y="115"/>
                    <a:pt x="28" y="110"/>
                    <a:pt x="28" y="103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08" name="îṧḷíḓe">
              <a:extLst>
                <a:ext uri="{FF2B5EF4-FFF2-40B4-BE49-F238E27FC236}">
                  <a16:creationId xmlns:a16="http://schemas.microsoft.com/office/drawing/2014/main" id="{7F8CAB8B-52C8-4026-8DC3-AE51497F393E}"/>
                </a:ext>
              </a:extLst>
            </p:cNvPr>
            <p:cNvSpPr/>
            <p:nvPr/>
          </p:nvSpPr>
          <p:spPr bwMode="auto">
            <a:xfrm>
              <a:off x="5444418" y="3145395"/>
              <a:ext cx="252094" cy="971780"/>
            </a:xfrm>
            <a:custGeom>
              <a:avLst/>
              <a:gdLst>
                <a:gd name="T0" fmla="*/ 60 w 60"/>
                <a:gd name="T1" fmla="*/ 9 h 230"/>
                <a:gd name="T2" fmla="*/ 49 w 60"/>
                <a:gd name="T3" fmla="*/ 0 h 230"/>
                <a:gd name="T4" fmla="*/ 11 w 60"/>
                <a:gd name="T5" fmla="*/ 0 h 230"/>
                <a:gd name="T6" fmla="*/ 0 w 60"/>
                <a:gd name="T7" fmla="*/ 9 h 230"/>
                <a:gd name="T8" fmla="*/ 9 w 60"/>
                <a:gd name="T9" fmla="*/ 17 h 230"/>
                <a:gd name="T10" fmla="*/ 8 w 60"/>
                <a:gd name="T11" fmla="*/ 21 h 230"/>
                <a:gd name="T12" fmla="*/ 8 w 60"/>
                <a:gd name="T13" fmla="*/ 213 h 230"/>
                <a:gd name="T14" fmla="*/ 30 w 60"/>
                <a:gd name="T15" fmla="*/ 230 h 230"/>
                <a:gd name="T16" fmla="*/ 51 w 60"/>
                <a:gd name="T17" fmla="*/ 213 h 230"/>
                <a:gd name="T18" fmla="*/ 51 w 60"/>
                <a:gd name="T19" fmla="*/ 21 h 230"/>
                <a:gd name="T20" fmla="*/ 50 w 60"/>
                <a:gd name="T21" fmla="*/ 17 h 230"/>
                <a:gd name="T22" fmla="*/ 60 w 60"/>
                <a:gd name="T23" fmla="*/ 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230">
                  <a:moveTo>
                    <a:pt x="60" y="9"/>
                  </a:moveTo>
                  <a:cubicBezTo>
                    <a:pt x="60" y="4"/>
                    <a:pt x="55" y="0"/>
                    <a:pt x="4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3"/>
                    <a:pt x="4" y="16"/>
                    <a:pt x="9" y="17"/>
                  </a:cubicBezTo>
                  <a:cubicBezTo>
                    <a:pt x="9" y="18"/>
                    <a:pt x="8" y="19"/>
                    <a:pt x="8" y="21"/>
                  </a:cubicBezTo>
                  <a:cubicBezTo>
                    <a:pt x="8" y="213"/>
                    <a:pt x="8" y="213"/>
                    <a:pt x="8" y="213"/>
                  </a:cubicBezTo>
                  <a:cubicBezTo>
                    <a:pt x="8" y="222"/>
                    <a:pt x="18" y="230"/>
                    <a:pt x="30" y="230"/>
                  </a:cubicBezTo>
                  <a:cubicBezTo>
                    <a:pt x="41" y="230"/>
                    <a:pt x="51" y="222"/>
                    <a:pt x="51" y="21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0"/>
                    <a:pt x="51" y="18"/>
                    <a:pt x="50" y="17"/>
                  </a:cubicBezTo>
                  <a:cubicBezTo>
                    <a:pt x="56" y="17"/>
                    <a:pt x="60" y="13"/>
                    <a:pt x="60" y="9"/>
                  </a:cubicBezTo>
                </a:path>
              </a:pathLst>
            </a:cu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09" name="îślíḋê">
              <a:extLst>
                <a:ext uri="{FF2B5EF4-FFF2-40B4-BE49-F238E27FC236}">
                  <a16:creationId xmlns:a16="http://schemas.microsoft.com/office/drawing/2014/main" id="{C990856B-93F9-4E8E-B3BB-321CA1EB5854}"/>
                </a:ext>
              </a:extLst>
            </p:cNvPr>
            <p:cNvSpPr/>
            <p:nvPr/>
          </p:nvSpPr>
          <p:spPr bwMode="auto">
            <a:xfrm>
              <a:off x="5578597" y="3212485"/>
              <a:ext cx="46760" cy="489957"/>
            </a:xfrm>
            <a:custGeom>
              <a:avLst/>
              <a:gdLst>
                <a:gd name="T0" fmla="*/ 6 w 11"/>
                <a:gd name="T1" fmla="*/ 0 h 116"/>
                <a:gd name="T2" fmla="*/ 0 w 11"/>
                <a:gd name="T3" fmla="*/ 5 h 116"/>
                <a:gd name="T4" fmla="*/ 0 w 11"/>
                <a:gd name="T5" fmla="*/ 110 h 116"/>
                <a:gd name="T6" fmla="*/ 6 w 11"/>
                <a:gd name="T7" fmla="*/ 116 h 116"/>
                <a:gd name="T8" fmla="*/ 11 w 11"/>
                <a:gd name="T9" fmla="*/ 110 h 116"/>
                <a:gd name="T10" fmla="*/ 11 w 11"/>
                <a:gd name="T11" fmla="*/ 5 h 116"/>
                <a:gd name="T12" fmla="*/ 6 w 11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16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40"/>
                    <a:pt x="0" y="75"/>
                    <a:pt x="0" y="110"/>
                  </a:cubicBezTo>
                  <a:cubicBezTo>
                    <a:pt x="0" y="114"/>
                    <a:pt x="3" y="116"/>
                    <a:pt x="6" y="116"/>
                  </a:cubicBezTo>
                  <a:cubicBezTo>
                    <a:pt x="9" y="116"/>
                    <a:pt x="11" y="114"/>
                    <a:pt x="11" y="110"/>
                  </a:cubicBezTo>
                  <a:cubicBezTo>
                    <a:pt x="11" y="75"/>
                    <a:pt x="11" y="40"/>
                    <a:pt x="11" y="5"/>
                  </a:cubicBezTo>
                  <a:cubicBezTo>
                    <a:pt x="11" y="2"/>
                    <a:pt x="9" y="0"/>
                    <a:pt x="6" y="0"/>
                  </a:cubicBezTo>
                </a:path>
              </a:pathLst>
            </a:custGeom>
            <a:solidFill>
              <a:srgbClr val="EAE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10" name="íṡļîdê">
              <a:extLst>
                <a:ext uri="{FF2B5EF4-FFF2-40B4-BE49-F238E27FC236}">
                  <a16:creationId xmlns:a16="http://schemas.microsoft.com/office/drawing/2014/main" id="{D08CD178-9B6B-4D54-91CD-889DB3D1782A}"/>
                </a:ext>
              </a:extLst>
            </p:cNvPr>
            <p:cNvSpPr/>
            <p:nvPr/>
          </p:nvSpPr>
          <p:spPr bwMode="auto">
            <a:xfrm>
              <a:off x="5511509" y="3584526"/>
              <a:ext cx="113849" cy="485891"/>
            </a:xfrm>
            <a:custGeom>
              <a:avLst/>
              <a:gdLst>
                <a:gd name="T0" fmla="*/ 0 w 27"/>
                <a:gd name="T1" fmla="*/ 0 h 115"/>
                <a:gd name="T2" fmla="*/ 0 w 27"/>
                <a:gd name="T3" fmla="*/ 39 h 115"/>
                <a:gd name="T4" fmla="*/ 0 w 27"/>
                <a:gd name="T5" fmla="*/ 65 h 115"/>
                <a:gd name="T6" fmla="*/ 0 w 27"/>
                <a:gd name="T7" fmla="*/ 103 h 115"/>
                <a:gd name="T8" fmla="*/ 14 w 27"/>
                <a:gd name="T9" fmla="*/ 115 h 115"/>
                <a:gd name="T10" fmla="*/ 27 w 27"/>
                <a:gd name="T11" fmla="*/ 103 h 115"/>
                <a:gd name="T12" fmla="*/ 27 w 27"/>
                <a:gd name="T13" fmla="*/ 65 h 115"/>
                <a:gd name="T14" fmla="*/ 27 w 27"/>
                <a:gd name="T15" fmla="*/ 39 h 115"/>
                <a:gd name="T16" fmla="*/ 27 w 27"/>
                <a:gd name="T17" fmla="*/ 0 h 115"/>
                <a:gd name="T18" fmla="*/ 0 w 27"/>
                <a:gd name="T1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115">
                  <a:moveTo>
                    <a:pt x="0" y="0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10"/>
                    <a:pt x="6" y="115"/>
                    <a:pt x="14" y="115"/>
                  </a:cubicBezTo>
                  <a:cubicBezTo>
                    <a:pt x="21" y="115"/>
                    <a:pt x="27" y="110"/>
                    <a:pt x="27" y="103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0"/>
                    <a:pt x="27" y="0"/>
                    <a:pt x="2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11" name="íSḻíďê">
              <a:extLst>
                <a:ext uri="{FF2B5EF4-FFF2-40B4-BE49-F238E27FC236}">
                  <a16:creationId xmlns:a16="http://schemas.microsoft.com/office/drawing/2014/main" id="{B8DFFD7D-3944-4434-97E1-9B12D6C9D91C}"/>
                </a:ext>
              </a:extLst>
            </p:cNvPr>
            <p:cNvSpPr/>
            <p:nvPr/>
          </p:nvSpPr>
          <p:spPr bwMode="auto">
            <a:xfrm>
              <a:off x="7278196" y="4442457"/>
              <a:ext cx="121981" cy="54892"/>
            </a:xfrm>
            <a:custGeom>
              <a:avLst/>
              <a:gdLst>
                <a:gd name="T0" fmla="*/ 29 w 29"/>
                <a:gd name="T1" fmla="*/ 0 h 13"/>
                <a:gd name="T2" fmla="*/ 22 w 29"/>
                <a:gd name="T3" fmla="*/ 2 h 13"/>
                <a:gd name="T4" fmla="*/ 20 w 29"/>
                <a:gd name="T5" fmla="*/ 3 h 13"/>
                <a:gd name="T6" fmla="*/ 19 w 29"/>
                <a:gd name="T7" fmla="*/ 3 h 13"/>
                <a:gd name="T8" fmla="*/ 19 w 29"/>
                <a:gd name="T9" fmla="*/ 3 h 13"/>
                <a:gd name="T10" fmla="*/ 0 w 29"/>
                <a:gd name="T11" fmla="*/ 3 h 13"/>
                <a:gd name="T12" fmla="*/ 0 w 29"/>
                <a:gd name="T13" fmla="*/ 4 h 13"/>
                <a:gd name="T14" fmla="*/ 23 w 29"/>
                <a:gd name="T15" fmla="*/ 13 h 13"/>
                <a:gd name="T16" fmla="*/ 29 w 29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3">
                  <a:moveTo>
                    <a:pt x="29" y="0"/>
                  </a:moveTo>
                  <a:cubicBezTo>
                    <a:pt x="27" y="1"/>
                    <a:pt x="25" y="2"/>
                    <a:pt x="22" y="2"/>
                  </a:cubicBezTo>
                  <a:cubicBezTo>
                    <a:pt x="22" y="2"/>
                    <a:pt x="21" y="3"/>
                    <a:pt x="20" y="3"/>
                  </a:cubicBezTo>
                  <a:cubicBezTo>
                    <a:pt x="20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3" y="3"/>
                    <a:pt x="6" y="3"/>
                    <a:pt x="0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7"/>
                    <a:pt x="8" y="10"/>
                    <a:pt x="23" y="13"/>
                  </a:cubicBezTo>
                  <a:cubicBezTo>
                    <a:pt x="29" y="0"/>
                    <a:pt x="29" y="0"/>
                    <a:pt x="29" y="0"/>
                  </a:cubicBezTo>
                </a:path>
              </a:pathLst>
            </a:custGeom>
            <a:solidFill>
              <a:srgbClr val="B3A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12" name="íṥliḍe">
              <a:extLst>
                <a:ext uri="{FF2B5EF4-FFF2-40B4-BE49-F238E27FC236}">
                  <a16:creationId xmlns:a16="http://schemas.microsoft.com/office/drawing/2014/main" id="{6ABF16B1-CA0A-4444-818B-DE56EFD9C682}"/>
                </a:ext>
              </a:extLst>
            </p:cNvPr>
            <p:cNvSpPr/>
            <p:nvPr/>
          </p:nvSpPr>
          <p:spPr bwMode="auto">
            <a:xfrm>
              <a:off x="7278196" y="4418061"/>
              <a:ext cx="134179" cy="36594"/>
            </a:xfrm>
            <a:custGeom>
              <a:avLst/>
              <a:gdLst>
                <a:gd name="T0" fmla="*/ 32 w 32"/>
                <a:gd name="T1" fmla="*/ 0 h 9"/>
                <a:gd name="T2" fmla="*/ 0 w 32"/>
                <a:gd name="T3" fmla="*/ 9 h 9"/>
                <a:gd name="T4" fmla="*/ 19 w 32"/>
                <a:gd name="T5" fmla="*/ 9 h 9"/>
                <a:gd name="T6" fmla="*/ 19 w 32"/>
                <a:gd name="T7" fmla="*/ 9 h 9"/>
                <a:gd name="T8" fmla="*/ 20 w 32"/>
                <a:gd name="T9" fmla="*/ 9 h 9"/>
                <a:gd name="T10" fmla="*/ 22 w 32"/>
                <a:gd name="T11" fmla="*/ 8 h 9"/>
                <a:gd name="T12" fmla="*/ 29 w 32"/>
                <a:gd name="T13" fmla="*/ 6 h 9"/>
                <a:gd name="T14" fmla="*/ 32 w 32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9">
                  <a:moveTo>
                    <a:pt x="32" y="0"/>
                  </a:moveTo>
                  <a:cubicBezTo>
                    <a:pt x="13" y="2"/>
                    <a:pt x="2" y="5"/>
                    <a:pt x="0" y="9"/>
                  </a:cubicBezTo>
                  <a:cubicBezTo>
                    <a:pt x="6" y="9"/>
                    <a:pt x="13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1" y="9"/>
                    <a:pt x="22" y="8"/>
                    <a:pt x="22" y="8"/>
                  </a:cubicBezTo>
                  <a:cubicBezTo>
                    <a:pt x="25" y="8"/>
                    <a:pt x="27" y="7"/>
                    <a:pt x="29" y="6"/>
                  </a:cubicBezTo>
                  <a:cubicBezTo>
                    <a:pt x="32" y="0"/>
                    <a:pt x="32" y="0"/>
                    <a:pt x="32" y="0"/>
                  </a:cubicBezTo>
                </a:path>
              </a:pathLst>
            </a:cu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13" name="iṡľíḋê">
              <a:extLst>
                <a:ext uri="{FF2B5EF4-FFF2-40B4-BE49-F238E27FC236}">
                  <a16:creationId xmlns:a16="http://schemas.microsoft.com/office/drawing/2014/main" id="{15C56F96-26C6-413C-9C5A-5C7AD6C59F38}"/>
                </a:ext>
              </a:extLst>
            </p:cNvPr>
            <p:cNvSpPr/>
            <p:nvPr/>
          </p:nvSpPr>
          <p:spPr bwMode="auto">
            <a:xfrm>
              <a:off x="8136127" y="4426193"/>
              <a:ext cx="1114091" cy="117915"/>
            </a:xfrm>
            <a:custGeom>
              <a:avLst/>
              <a:gdLst>
                <a:gd name="T0" fmla="*/ 246 w 264"/>
                <a:gd name="T1" fmla="*/ 0 h 28"/>
                <a:gd name="T2" fmla="*/ 234 w 264"/>
                <a:gd name="T3" fmla="*/ 9 h 28"/>
                <a:gd name="T4" fmla="*/ 0 w 264"/>
                <a:gd name="T5" fmla="*/ 9 h 28"/>
                <a:gd name="T6" fmla="*/ 9 w 264"/>
                <a:gd name="T7" fmla="*/ 28 h 28"/>
                <a:gd name="T8" fmla="*/ 30 w 264"/>
                <a:gd name="T9" fmla="*/ 28 h 28"/>
                <a:gd name="T10" fmla="*/ 264 w 264"/>
                <a:gd name="T11" fmla="*/ 8 h 28"/>
                <a:gd name="T12" fmla="*/ 246 w 264"/>
                <a:gd name="T1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4" h="28">
                  <a:moveTo>
                    <a:pt x="246" y="0"/>
                  </a:moveTo>
                  <a:cubicBezTo>
                    <a:pt x="245" y="5"/>
                    <a:pt x="240" y="9"/>
                    <a:pt x="234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6" y="28"/>
                    <a:pt x="23" y="28"/>
                    <a:pt x="30" y="28"/>
                  </a:cubicBezTo>
                  <a:cubicBezTo>
                    <a:pt x="159" y="28"/>
                    <a:pt x="264" y="19"/>
                    <a:pt x="264" y="8"/>
                  </a:cubicBezTo>
                  <a:cubicBezTo>
                    <a:pt x="264" y="5"/>
                    <a:pt x="257" y="3"/>
                    <a:pt x="246" y="0"/>
                  </a:cubicBezTo>
                </a:path>
              </a:pathLst>
            </a:custGeom>
            <a:solidFill>
              <a:srgbClr val="B3A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14" name="îṩḷíḋè">
              <a:extLst>
                <a:ext uri="{FF2B5EF4-FFF2-40B4-BE49-F238E27FC236}">
                  <a16:creationId xmlns:a16="http://schemas.microsoft.com/office/drawing/2014/main" id="{C10D84AE-3EA6-4864-ABD9-6D245D979EFF}"/>
                </a:ext>
              </a:extLst>
            </p:cNvPr>
            <p:cNvSpPr/>
            <p:nvPr/>
          </p:nvSpPr>
          <p:spPr bwMode="auto">
            <a:xfrm>
              <a:off x="7686832" y="2452138"/>
              <a:ext cx="1504429" cy="2012682"/>
            </a:xfrm>
            <a:custGeom>
              <a:avLst/>
              <a:gdLst>
                <a:gd name="T0" fmla="*/ 352 w 356"/>
                <a:gd name="T1" fmla="*/ 457 h 476"/>
                <a:gd name="T2" fmla="*/ 208 w 356"/>
                <a:gd name="T3" fmla="*/ 158 h 476"/>
                <a:gd name="T4" fmla="*/ 208 w 356"/>
                <a:gd name="T5" fmla="*/ 42 h 476"/>
                <a:gd name="T6" fmla="*/ 207 w 356"/>
                <a:gd name="T7" fmla="*/ 35 h 476"/>
                <a:gd name="T8" fmla="*/ 223 w 356"/>
                <a:gd name="T9" fmla="*/ 18 h 476"/>
                <a:gd name="T10" fmla="*/ 205 w 356"/>
                <a:gd name="T11" fmla="*/ 0 h 476"/>
                <a:gd name="T12" fmla="*/ 144 w 356"/>
                <a:gd name="T13" fmla="*/ 0 h 476"/>
                <a:gd name="T14" fmla="*/ 126 w 356"/>
                <a:gd name="T15" fmla="*/ 18 h 476"/>
                <a:gd name="T16" fmla="*/ 140 w 356"/>
                <a:gd name="T17" fmla="*/ 35 h 476"/>
                <a:gd name="T18" fmla="*/ 139 w 356"/>
                <a:gd name="T19" fmla="*/ 42 h 476"/>
                <a:gd name="T20" fmla="*/ 139 w 356"/>
                <a:gd name="T21" fmla="*/ 158 h 476"/>
                <a:gd name="T22" fmla="*/ 4 w 356"/>
                <a:gd name="T23" fmla="*/ 457 h 476"/>
                <a:gd name="T24" fmla="*/ 16 w 356"/>
                <a:gd name="T25" fmla="*/ 476 h 476"/>
                <a:gd name="T26" fmla="*/ 340 w 356"/>
                <a:gd name="T27" fmla="*/ 476 h 476"/>
                <a:gd name="T28" fmla="*/ 352 w 356"/>
                <a:gd name="T29" fmla="*/ 457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6" h="476">
                  <a:moveTo>
                    <a:pt x="352" y="457"/>
                  </a:moveTo>
                  <a:cubicBezTo>
                    <a:pt x="208" y="158"/>
                    <a:pt x="208" y="158"/>
                    <a:pt x="208" y="158"/>
                  </a:cubicBezTo>
                  <a:cubicBezTo>
                    <a:pt x="208" y="42"/>
                    <a:pt x="208" y="42"/>
                    <a:pt x="208" y="42"/>
                  </a:cubicBezTo>
                  <a:cubicBezTo>
                    <a:pt x="208" y="40"/>
                    <a:pt x="207" y="37"/>
                    <a:pt x="207" y="35"/>
                  </a:cubicBezTo>
                  <a:cubicBezTo>
                    <a:pt x="216" y="34"/>
                    <a:pt x="223" y="27"/>
                    <a:pt x="223" y="18"/>
                  </a:cubicBezTo>
                  <a:cubicBezTo>
                    <a:pt x="223" y="8"/>
                    <a:pt x="215" y="0"/>
                    <a:pt x="205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34" y="0"/>
                    <a:pt x="126" y="8"/>
                    <a:pt x="126" y="18"/>
                  </a:cubicBezTo>
                  <a:cubicBezTo>
                    <a:pt x="126" y="26"/>
                    <a:pt x="132" y="33"/>
                    <a:pt x="140" y="35"/>
                  </a:cubicBezTo>
                  <a:cubicBezTo>
                    <a:pt x="140" y="37"/>
                    <a:pt x="139" y="40"/>
                    <a:pt x="139" y="42"/>
                  </a:cubicBezTo>
                  <a:cubicBezTo>
                    <a:pt x="139" y="158"/>
                    <a:pt x="139" y="158"/>
                    <a:pt x="139" y="158"/>
                  </a:cubicBezTo>
                  <a:cubicBezTo>
                    <a:pt x="4" y="457"/>
                    <a:pt x="4" y="457"/>
                    <a:pt x="4" y="457"/>
                  </a:cubicBezTo>
                  <a:cubicBezTo>
                    <a:pt x="0" y="466"/>
                    <a:pt x="7" y="476"/>
                    <a:pt x="16" y="476"/>
                  </a:cubicBezTo>
                  <a:cubicBezTo>
                    <a:pt x="340" y="476"/>
                    <a:pt x="340" y="476"/>
                    <a:pt x="340" y="476"/>
                  </a:cubicBezTo>
                  <a:cubicBezTo>
                    <a:pt x="350" y="476"/>
                    <a:pt x="356" y="466"/>
                    <a:pt x="352" y="457"/>
                  </a:cubicBezTo>
                </a:path>
              </a:pathLst>
            </a:cu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15" name="ïṧḻïḓé">
              <a:extLst>
                <a:ext uri="{FF2B5EF4-FFF2-40B4-BE49-F238E27FC236}">
                  <a16:creationId xmlns:a16="http://schemas.microsoft.com/office/drawing/2014/main" id="{37C6F4C4-9F8D-431C-B7E8-0A5F6DABEE1F}"/>
                </a:ext>
              </a:extLst>
            </p:cNvPr>
            <p:cNvSpPr/>
            <p:nvPr/>
          </p:nvSpPr>
          <p:spPr bwMode="auto">
            <a:xfrm>
              <a:off x="7827109" y="3812223"/>
              <a:ext cx="1223874" cy="563145"/>
            </a:xfrm>
            <a:custGeom>
              <a:avLst/>
              <a:gdLst>
                <a:gd name="T0" fmla="*/ 230 w 290"/>
                <a:gd name="T1" fmla="*/ 0 h 133"/>
                <a:gd name="T2" fmla="*/ 56 w 290"/>
                <a:gd name="T3" fmla="*/ 0 h 133"/>
                <a:gd name="T4" fmla="*/ 3 w 290"/>
                <a:gd name="T5" fmla="*/ 118 h 133"/>
                <a:gd name="T6" fmla="*/ 13 w 290"/>
                <a:gd name="T7" fmla="*/ 133 h 133"/>
                <a:gd name="T8" fmla="*/ 277 w 290"/>
                <a:gd name="T9" fmla="*/ 133 h 133"/>
                <a:gd name="T10" fmla="*/ 287 w 290"/>
                <a:gd name="T11" fmla="*/ 117 h 133"/>
                <a:gd name="T12" fmla="*/ 230 w 290"/>
                <a:gd name="T13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133">
                  <a:moveTo>
                    <a:pt x="230" y="0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3" y="118"/>
                    <a:pt x="3" y="118"/>
                    <a:pt x="3" y="118"/>
                  </a:cubicBezTo>
                  <a:cubicBezTo>
                    <a:pt x="0" y="125"/>
                    <a:pt x="5" y="133"/>
                    <a:pt x="13" y="133"/>
                  </a:cubicBezTo>
                  <a:cubicBezTo>
                    <a:pt x="277" y="133"/>
                    <a:pt x="277" y="133"/>
                    <a:pt x="277" y="133"/>
                  </a:cubicBezTo>
                  <a:cubicBezTo>
                    <a:pt x="285" y="133"/>
                    <a:pt x="290" y="125"/>
                    <a:pt x="287" y="117"/>
                  </a:cubicBezTo>
                  <a:cubicBezTo>
                    <a:pt x="230" y="0"/>
                    <a:pt x="230" y="0"/>
                    <a:pt x="230" y="0"/>
                  </a:cubicBezTo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16" name="i$1îďé">
              <a:extLst>
                <a:ext uri="{FF2B5EF4-FFF2-40B4-BE49-F238E27FC236}">
                  <a16:creationId xmlns:a16="http://schemas.microsoft.com/office/drawing/2014/main" id="{06FFE28C-1387-4C1A-8C74-9344AB9E55E4}"/>
                </a:ext>
              </a:extLst>
            </p:cNvPr>
            <p:cNvSpPr/>
            <p:nvPr/>
          </p:nvSpPr>
          <p:spPr bwMode="auto">
            <a:xfrm>
              <a:off x="8430915" y="2594449"/>
              <a:ext cx="337480" cy="1142553"/>
            </a:xfrm>
            <a:custGeom>
              <a:avLst/>
              <a:gdLst>
                <a:gd name="T0" fmla="*/ 9 w 80"/>
                <a:gd name="T1" fmla="*/ 0 h 270"/>
                <a:gd name="T2" fmla="*/ 3 w 80"/>
                <a:gd name="T3" fmla="*/ 6 h 270"/>
                <a:gd name="T4" fmla="*/ 3 w 80"/>
                <a:gd name="T5" fmla="*/ 79 h 270"/>
                <a:gd name="T6" fmla="*/ 5 w 80"/>
                <a:gd name="T7" fmla="*/ 135 h 270"/>
                <a:gd name="T8" fmla="*/ 39 w 80"/>
                <a:gd name="T9" fmla="*/ 206 h 270"/>
                <a:gd name="T10" fmla="*/ 69 w 80"/>
                <a:gd name="T11" fmla="*/ 268 h 270"/>
                <a:gd name="T12" fmla="*/ 73 w 80"/>
                <a:gd name="T13" fmla="*/ 270 h 270"/>
                <a:gd name="T14" fmla="*/ 78 w 80"/>
                <a:gd name="T15" fmla="*/ 262 h 270"/>
                <a:gd name="T16" fmla="*/ 15 w 80"/>
                <a:gd name="T17" fmla="*/ 131 h 270"/>
                <a:gd name="T18" fmla="*/ 14 w 80"/>
                <a:gd name="T19" fmla="*/ 128 h 270"/>
                <a:gd name="T20" fmla="*/ 14 w 80"/>
                <a:gd name="T21" fmla="*/ 120 h 270"/>
                <a:gd name="T22" fmla="*/ 14 w 80"/>
                <a:gd name="T23" fmla="*/ 79 h 270"/>
                <a:gd name="T24" fmla="*/ 14 w 80"/>
                <a:gd name="T25" fmla="*/ 6 h 270"/>
                <a:gd name="T26" fmla="*/ 9 w 80"/>
                <a:gd name="T27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0" h="270">
                  <a:moveTo>
                    <a:pt x="9" y="0"/>
                  </a:moveTo>
                  <a:cubicBezTo>
                    <a:pt x="6" y="0"/>
                    <a:pt x="3" y="2"/>
                    <a:pt x="3" y="6"/>
                  </a:cubicBezTo>
                  <a:cubicBezTo>
                    <a:pt x="3" y="30"/>
                    <a:pt x="3" y="54"/>
                    <a:pt x="3" y="79"/>
                  </a:cubicBezTo>
                  <a:cubicBezTo>
                    <a:pt x="3" y="96"/>
                    <a:pt x="0" y="118"/>
                    <a:pt x="5" y="135"/>
                  </a:cubicBezTo>
                  <a:cubicBezTo>
                    <a:pt x="13" y="159"/>
                    <a:pt x="28" y="183"/>
                    <a:pt x="39" y="206"/>
                  </a:cubicBezTo>
                  <a:cubicBezTo>
                    <a:pt x="49" y="227"/>
                    <a:pt x="59" y="247"/>
                    <a:pt x="69" y="268"/>
                  </a:cubicBezTo>
                  <a:cubicBezTo>
                    <a:pt x="70" y="270"/>
                    <a:pt x="71" y="270"/>
                    <a:pt x="73" y="270"/>
                  </a:cubicBezTo>
                  <a:cubicBezTo>
                    <a:pt x="77" y="270"/>
                    <a:pt x="80" y="267"/>
                    <a:pt x="78" y="262"/>
                  </a:cubicBezTo>
                  <a:cubicBezTo>
                    <a:pt x="57" y="219"/>
                    <a:pt x="33" y="176"/>
                    <a:pt x="15" y="131"/>
                  </a:cubicBezTo>
                  <a:cubicBezTo>
                    <a:pt x="15" y="130"/>
                    <a:pt x="14" y="129"/>
                    <a:pt x="14" y="128"/>
                  </a:cubicBezTo>
                  <a:cubicBezTo>
                    <a:pt x="14" y="126"/>
                    <a:pt x="14" y="123"/>
                    <a:pt x="14" y="120"/>
                  </a:cubicBezTo>
                  <a:cubicBezTo>
                    <a:pt x="14" y="107"/>
                    <a:pt x="14" y="93"/>
                    <a:pt x="14" y="79"/>
                  </a:cubicBezTo>
                  <a:cubicBezTo>
                    <a:pt x="14" y="54"/>
                    <a:pt x="14" y="30"/>
                    <a:pt x="14" y="6"/>
                  </a:cubicBezTo>
                  <a:cubicBezTo>
                    <a:pt x="14" y="2"/>
                    <a:pt x="12" y="0"/>
                    <a:pt x="9" y="0"/>
                  </a:cubicBezTo>
                </a:path>
              </a:pathLst>
            </a:custGeom>
            <a:solidFill>
              <a:srgbClr val="E5E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17" name="ïṡḻïde">
              <a:extLst>
                <a:ext uri="{FF2B5EF4-FFF2-40B4-BE49-F238E27FC236}">
                  <a16:creationId xmlns:a16="http://schemas.microsoft.com/office/drawing/2014/main" id="{5CB21623-DF66-420F-90D5-74B102EA8904}"/>
                </a:ext>
              </a:extLst>
            </p:cNvPr>
            <p:cNvSpPr/>
            <p:nvPr/>
          </p:nvSpPr>
          <p:spPr bwMode="auto">
            <a:xfrm>
              <a:off x="8485806" y="3889478"/>
              <a:ext cx="58958" cy="58958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18" name="ïŝḻíḋê">
              <a:extLst>
                <a:ext uri="{FF2B5EF4-FFF2-40B4-BE49-F238E27FC236}">
                  <a16:creationId xmlns:a16="http://schemas.microsoft.com/office/drawing/2014/main" id="{800370A5-26B6-4196-974C-EDC373F90314}"/>
                </a:ext>
              </a:extLst>
            </p:cNvPr>
            <p:cNvSpPr/>
            <p:nvPr/>
          </p:nvSpPr>
          <p:spPr bwMode="auto">
            <a:xfrm>
              <a:off x="8646414" y="3812223"/>
              <a:ext cx="54892" cy="54892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19" name="íš1ïďé">
              <a:extLst>
                <a:ext uri="{FF2B5EF4-FFF2-40B4-BE49-F238E27FC236}">
                  <a16:creationId xmlns:a16="http://schemas.microsoft.com/office/drawing/2014/main" id="{15DC2215-987E-4C77-BA64-376D9EC04811}"/>
                </a:ext>
              </a:extLst>
            </p:cNvPr>
            <p:cNvSpPr/>
            <p:nvPr/>
          </p:nvSpPr>
          <p:spPr bwMode="auto">
            <a:xfrm>
              <a:off x="8654546" y="4092779"/>
              <a:ext cx="58958" cy="58958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20" name="iSḻîḍe">
              <a:extLst>
                <a:ext uri="{FF2B5EF4-FFF2-40B4-BE49-F238E27FC236}">
                  <a16:creationId xmlns:a16="http://schemas.microsoft.com/office/drawing/2014/main" id="{6813AD68-A912-45A9-A48F-803CD83AB14E}"/>
                </a:ext>
              </a:extLst>
            </p:cNvPr>
            <p:cNvSpPr/>
            <p:nvPr/>
          </p:nvSpPr>
          <p:spPr bwMode="auto">
            <a:xfrm>
              <a:off x="8447179" y="3554031"/>
              <a:ext cx="58958" cy="56924"/>
            </a:xfrm>
            <a:prstGeom prst="ellipse">
              <a:avLst/>
            </a:prstGeom>
            <a:solidFill>
              <a:srgbClr val="DE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21" name="iṩḻïďe">
              <a:extLst>
                <a:ext uri="{FF2B5EF4-FFF2-40B4-BE49-F238E27FC236}">
                  <a16:creationId xmlns:a16="http://schemas.microsoft.com/office/drawing/2014/main" id="{ED276FBA-5ECE-42DA-AA66-656B8CEC9155}"/>
                </a:ext>
              </a:extLst>
            </p:cNvPr>
            <p:cNvSpPr/>
            <p:nvPr/>
          </p:nvSpPr>
          <p:spPr bwMode="auto">
            <a:xfrm>
              <a:off x="8290636" y="3651616"/>
              <a:ext cx="54892" cy="54892"/>
            </a:xfrm>
            <a:prstGeom prst="ellipse">
              <a:avLst/>
            </a:prstGeom>
            <a:solidFill>
              <a:srgbClr val="DE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22" name="ïṡľïḑê">
              <a:extLst>
                <a:ext uri="{FF2B5EF4-FFF2-40B4-BE49-F238E27FC236}">
                  <a16:creationId xmlns:a16="http://schemas.microsoft.com/office/drawing/2014/main" id="{51E0CDEA-D88C-4477-9539-13DBE63EF546}"/>
                </a:ext>
              </a:extLst>
            </p:cNvPr>
            <p:cNvSpPr/>
            <p:nvPr/>
          </p:nvSpPr>
          <p:spPr bwMode="auto">
            <a:xfrm>
              <a:off x="8528499" y="3720738"/>
              <a:ext cx="54892" cy="54892"/>
            </a:xfrm>
            <a:prstGeom prst="ellipse">
              <a:avLst/>
            </a:prstGeom>
            <a:solidFill>
              <a:srgbClr val="DE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23" name="ïşľîḑè">
              <a:extLst>
                <a:ext uri="{FF2B5EF4-FFF2-40B4-BE49-F238E27FC236}">
                  <a16:creationId xmlns:a16="http://schemas.microsoft.com/office/drawing/2014/main" id="{4C30F8A6-04FD-4205-92BD-CA329494229A}"/>
                </a:ext>
              </a:extLst>
            </p:cNvPr>
            <p:cNvSpPr/>
            <p:nvPr/>
          </p:nvSpPr>
          <p:spPr bwMode="auto">
            <a:xfrm>
              <a:off x="8345528" y="3399522"/>
              <a:ext cx="60990" cy="54892"/>
            </a:xfrm>
            <a:prstGeom prst="ellipse">
              <a:avLst/>
            </a:prstGeom>
            <a:solidFill>
              <a:srgbClr val="DE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24" name="íŝļiḑê">
              <a:extLst>
                <a:ext uri="{FF2B5EF4-FFF2-40B4-BE49-F238E27FC236}">
                  <a16:creationId xmlns:a16="http://schemas.microsoft.com/office/drawing/2014/main" id="{54076B82-234E-40ED-8F71-9988901BD2BE}"/>
                </a:ext>
              </a:extLst>
            </p:cNvPr>
            <p:cNvSpPr/>
            <p:nvPr/>
          </p:nvSpPr>
          <p:spPr bwMode="auto">
            <a:xfrm>
              <a:off x="8670810" y="3960634"/>
              <a:ext cx="60990" cy="58958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25" name="í$líḓê">
              <a:extLst>
                <a:ext uri="{FF2B5EF4-FFF2-40B4-BE49-F238E27FC236}">
                  <a16:creationId xmlns:a16="http://schemas.microsoft.com/office/drawing/2014/main" id="{11C17350-30DD-4DC8-82CE-FBEDB68C6181}"/>
                </a:ext>
              </a:extLst>
            </p:cNvPr>
            <p:cNvSpPr/>
            <p:nvPr/>
          </p:nvSpPr>
          <p:spPr bwMode="auto">
            <a:xfrm>
              <a:off x="8516301" y="4037888"/>
              <a:ext cx="54892" cy="54892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26" name="ï$ḻïḓé">
              <a:extLst>
                <a:ext uri="{FF2B5EF4-FFF2-40B4-BE49-F238E27FC236}">
                  <a16:creationId xmlns:a16="http://schemas.microsoft.com/office/drawing/2014/main" id="{49122DAD-E2CF-4A03-8AE3-5F03A7075C15}"/>
                </a:ext>
              </a:extLst>
            </p:cNvPr>
            <p:cNvSpPr/>
            <p:nvPr/>
          </p:nvSpPr>
          <p:spPr bwMode="auto">
            <a:xfrm>
              <a:off x="8363825" y="4023656"/>
              <a:ext cx="58958" cy="58958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27" name="ísḷïḋê">
              <a:extLst>
                <a:ext uri="{FF2B5EF4-FFF2-40B4-BE49-F238E27FC236}">
                  <a16:creationId xmlns:a16="http://schemas.microsoft.com/office/drawing/2014/main" id="{266C2A92-67CC-4971-BD4B-D011E04CA4B4}"/>
                </a:ext>
              </a:extLst>
            </p:cNvPr>
            <p:cNvSpPr/>
            <p:nvPr/>
          </p:nvSpPr>
          <p:spPr bwMode="auto">
            <a:xfrm>
              <a:off x="8270306" y="3867115"/>
              <a:ext cx="54892" cy="54892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28" name="íŝliďe">
              <a:extLst>
                <a:ext uri="{FF2B5EF4-FFF2-40B4-BE49-F238E27FC236}">
                  <a16:creationId xmlns:a16="http://schemas.microsoft.com/office/drawing/2014/main" id="{2728BD27-E0DA-42F0-9342-DDD1C942627B}"/>
                </a:ext>
              </a:extLst>
            </p:cNvPr>
            <p:cNvSpPr/>
            <p:nvPr/>
          </p:nvSpPr>
          <p:spPr bwMode="auto">
            <a:xfrm>
              <a:off x="7827109" y="3854917"/>
              <a:ext cx="1223874" cy="520451"/>
            </a:xfrm>
            <a:custGeom>
              <a:avLst/>
              <a:gdLst>
                <a:gd name="T0" fmla="*/ 283 w 290"/>
                <a:gd name="T1" fmla="*/ 99 h 123"/>
                <a:gd name="T2" fmla="*/ 52 w 290"/>
                <a:gd name="T3" fmla="*/ 0 h 123"/>
                <a:gd name="T4" fmla="*/ 3 w 290"/>
                <a:gd name="T5" fmla="*/ 108 h 123"/>
                <a:gd name="T6" fmla="*/ 13 w 290"/>
                <a:gd name="T7" fmla="*/ 123 h 123"/>
                <a:gd name="T8" fmla="*/ 277 w 290"/>
                <a:gd name="T9" fmla="*/ 123 h 123"/>
                <a:gd name="T10" fmla="*/ 287 w 290"/>
                <a:gd name="T11" fmla="*/ 108 h 123"/>
                <a:gd name="T12" fmla="*/ 283 w 290"/>
                <a:gd name="T13" fmla="*/ 9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123">
                  <a:moveTo>
                    <a:pt x="283" y="99"/>
                  </a:moveTo>
                  <a:cubicBezTo>
                    <a:pt x="154" y="98"/>
                    <a:pt x="84" y="40"/>
                    <a:pt x="52" y="0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0" y="115"/>
                    <a:pt x="5" y="123"/>
                    <a:pt x="13" y="123"/>
                  </a:cubicBezTo>
                  <a:cubicBezTo>
                    <a:pt x="277" y="123"/>
                    <a:pt x="277" y="123"/>
                    <a:pt x="277" y="123"/>
                  </a:cubicBezTo>
                  <a:cubicBezTo>
                    <a:pt x="285" y="123"/>
                    <a:pt x="290" y="115"/>
                    <a:pt x="287" y="108"/>
                  </a:cubicBezTo>
                  <a:cubicBezTo>
                    <a:pt x="283" y="99"/>
                    <a:pt x="283" y="99"/>
                    <a:pt x="283" y="99"/>
                  </a:cubicBezTo>
                </a:path>
              </a:pathLst>
            </a:custGeom>
            <a:solidFill>
              <a:srgbClr val="D822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29" name="iṩļíḋê">
              <a:extLst>
                <a:ext uri="{FF2B5EF4-FFF2-40B4-BE49-F238E27FC236}">
                  <a16:creationId xmlns:a16="http://schemas.microsoft.com/office/drawing/2014/main" id="{96EC4422-5454-42A2-B506-CA848E575EE4}"/>
                </a:ext>
              </a:extLst>
            </p:cNvPr>
            <p:cNvSpPr/>
            <p:nvPr/>
          </p:nvSpPr>
          <p:spPr bwMode="auto">
            <a:xfrm>
              <a:off x="8422783" y="4133439"/>
              <a:ext cx="54892" cy="58958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30" name="îşḻiḋé">
              <a:extLst>
                <a:ext uri="{FF2B5EF4-FFF2-40B4-BE49-F238E27FC236}">
                  <a16:creationId xmlns:a16="http://schemas.microsoft.com/office/drawing/2014/main" id="{C3C5B0A9-44F8-453E-9B3B-8A08F86B3EBF}"/>
                </a:ext>
              </a:extLst>
            </p:cNvPr>
            <p:cNvSpPr/>
            <p:nvPr/>
          </p:nvSpPr>
          <p:spPr bwMode="auto">
            <a:xfrm>
              <a:off x="6816703" y="4607132"/>
              <a:ext cx="1610146" cy="164675"/>
            </a:xfrm>
            <a:custGeom>
              <a:avLst/>
              <a:gdLst>
                <a:gd name="T0" fmla="*/ 120 w 381"/>
                <a:gd name="T1" fmla="*/ 0 h 39"/>
                <a:gd name="T2" fmla="*/ 0 w 381"/>
                <a:gd name="T3" fmla="*/ 19 h 39"/>
                <a:gd name="T4" fmla="*/ 191 w 381"/>
                <a:gd name="T5" fmla="*/ 39 h 39"/>
                <a:gd name="T6" fmla="*/ 381 w 381"/>
                <a:gd name="T7" fmla="*/ 19 h 39"/>
                <a:gd name="T8" fmla="*/ 331 w 381"/>
                <a:gd name="T9" fmla="*/ 5 h 39"/>
                <a:gd name="T10" fmla="*/ 335 w 381"/>
                <a:gd name="T11" fmla="*/ 15 h 39"/>
                <a:gd name="T12" fmla="*/ 328 w 381"/>
                <a:gd name="T13" fmla="*/ 27 h 39"/>
                <a:gd name="T14" fmla="*/ 121 w 381"/>
                <a:gd name="T15" fmla="*/ 27 h 39"/>
                <a:gd name="T16" fmla="*/ 114 w 381"/>
                <a:gd name="T17" fmla="*/ 15 h 39"/>
                <a:gd name="T18" fmla="*/ 120 w 381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1" h="39">
                  <a:moveTo>
                    <a:pt x="120" y="0"/>
                  </a:moveTo>
                  <a:cubicBezTo>
                    <a:pt x="50" y="3"/>
                    <a:pt x="0" y="10"/>
                    <a:pt x="0" y="19"/>
                  </a:cubicBezTo>
                  <a:cubicBezTo>
                    <a:pt x="0" y="30"/>
                    <a:pt x="85" y="39"/>
                    <a:pt x="191" y="39"/>
                  </a:cubicBezTo>
                  <a:cubicBezTo>
                    <a:pt x="296" y="39"/>
                    <a:pt x="381" y="30"/>
                    <a:pt x="381" y="19"/>
                  </a:cubicBezTo>
                  <a:cubicBezTo>
                    <a:pt x="381" y="13"/>
                    <a:pt x="362" y="9"/>
                    <a:pt x="331" y="5"/>
                  </a:cubicBezTo>
                  <a:cubicBezTo>
                    <a:pt x="335" y="15"/>
                    <a:pt x="335" y="15"/>
                    <a:pt x="335" y="15"/>
                  </a:cubicBezTo>
                  <a:cubicBezTo>
                    <a:pt x="338" y="20"/>
                    <a:pt x="334" y="27"/>
                    <a:pt x="328" y="27"/>
                  </a:cubicBezTo>
                  <a:cubicBezTo>
                    <a:pt x="121" y="27"/>
                    <a:pt x="121" y="27"/>
                    <a:pt x="121" y="27"/>
                  </a:cubicBezTo>
                  <a:cubicBezTo>
                    <a:pt x="115" y="27"/>
                    <a:pt x="111" y="20"/>
                    <a:pt x="114" y="15"/>
                  </a:cubicBezTo>
                  <a:cubicBezTo>
                    <a:pt x="120" y="0"/>
                    <a:pt x="120" y="0"/>
                    <a:pt x="120" y="0"/>
                  </a:cubicBezTo>
                </a:path>
              </a:pathLst>
            </a:custGeom>
            <a:solidFill>
              <a:srgbClr val="B3A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31" name="ïṥļîďè">
              <a:extLst>
                <a:ext uri="{FF2B5EF4-FFF2-40B4-BE49-F238E27FC236}">
                  <a16:creationId xmlns:a16="http://schemas.microsoft.com/office/drawing/2014/main" id="{7748CA55-8258-4028-A3D9-E40C97F1E200}"/>
                </a:ext>
              </a:extLst>
            </p:cNvPr>
            <p:cNvSpPr/>
            <p:nvPr/>
          </p:nvSpPr>
          <p:spPr bwMode="auto">
            <a:xfrm>
              <a:off x="7286328" y="3436116"/>
              <a:ext cx="959582" cy="1284864"/>
            </a:xfrm>
            <a:custGeom>
              <a:avLst/>
              <a:gdLst>
                <a:gd name="T0" fmla="*/ 224 w 227"/>
                <a:gd name="T1" fmla="*/ 292 h 304"/>
                <a:gd name="T2" fmla="*/ 132 w 227"/>
                <a:gd name="T3" fmla="*/ 101 h 304"/>
                <a:gd name="T4" fmla="*/ 132 w 227"/>
                <a:gd name="T5" fmla="*/ 27 h 304"/>
                <a:gd name="T6" fmla="*/ 132 w 227"/>
                <a:gd name="T7" fmla="*/ 22 h 304"/>
                <a:gd name="T8" fmla="*/ 142 w 227"/>
                <a:gd name="T9" fmla="*/ 11 h 304"/>
                <a:gd name="T10" fmla="*/ 131 w 227"/>
                <a:gd name="T11" fmla="*/ 0 h 304"/>
                <a:gd name="T12" fmla="*/ 91 w 227"/>
                <a:gd name="T13" fmla="*/ 0 h 304"/>
                <a:gd name="T14" fmla="*/ 80 w 227"/>
                <a:gd name="T15" fmla="*/ 11 h 304"/>
                <a:gd name="T16" fmla="*/ 89 w 227"/>
                <a:gd name="T17" fmla="*/ 22 h 304"/>
                <a:gd name="T18" fmla="*/ 89 w 227"/>
                <a:gd name="T19" fmla="*/ 27 h 304"/>
                <a:gd name="T20" fmla="*/ 89 w 227"/>
                <a:gd name="T21" fmla="*/ 101 h 304"/>
                <a:gd name="T22" fmla="*/ 3 w 227"/>
                <a:gd name="T23" fmla="*/ 292 h 304"/>
                <a:gd name="T24" fmla="*/ 10 w 227"/>
                <a:gd name="T25" fmla="*/ 304 h 304"/>
                <a:gd name="T26" fmla="*/ 217 w 227"/>
                <a:gd name="T27" fmla="*/ 304 h 304"/>
                <a:gd name="T28" fmla="*/ 224 w 227"/>
                <a:gd name="T29" fmla="*/ 292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7" h="304">
                  <a:moveTo>
                    <a:pt x="224" y="292"/>
                  </a:moveTo>
                  <a:cubicBezTo>
                    <a:pt x="132" y="101"/>
                    <a:pt x="132" y="101"/>
                    <a:pt x="132" y="101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5"/>
                    <a:pt x="132" y="24"/>
                    <a:pt x="132" y="22"/>
                  </a:cubicBezTo>
                  <a:cubicBezTo>
                    <a:pt x="137" y="22"/>
                    <a:pt x="142" y="17"/>
                    <a:pt x="142" y="11"/>
                  </a:cubicBezTo>
                  <a:cubicBezTo>
                    <a:pt x="142" y="5"/>
                    <a:pt x="137" y="0"/>
                    <a:pt x="13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5" y="0"/>
                    <a:pt x="80" y="5"/>
                    <a:pt x="80" y="11"/>
                  </a:cubicBezTo>
                  <a:cubicBezTo>
                    <a:pt x="80" y="17"/>
                    <a:pt x="84" y="21"/>
                    <a:pt x="89" y="22"/>
                  </a:cubicBezTo>
                  <a:cubicBezTo>
                    <a:pt x="89" y="24"/>
                    <a:pt x="89" y="25"/>
                    <a:pt x="89" y="27"/>
                  </a:cubicBezTo>
                  <a:cubicBezTo>
                    <a:pt x="89" y="101"/>
                    <a:pt x="89" y="101"/>
                    <a:pt x="89" y="101"/>
                  </a:cubicBezTo>
                  <a:cubicBezTo>
                    <a:pt x="3" y="292"/>
                    <a:pt x="3" y="292"/>
                    <a:pt x="3" y="292"/>
                  </a:cubicBezTo>
                  <a:cubicBezTo>
                    <a:pt x="0" y="297"/>
                    <a:pt x="4" y="304"/>
                    <a:pt x="10" y="304"/>
                  </a:cubicBezTo>
                  <a:cubicBezTo>
                    <a:pt x="217" y="304"/>
                    <a:pt x="217" y="304"/>
                    <a:pt x="217" y="304"/>
                  </a:cubicBezTo>
                  <a:cubicBezTo>
                    <a:pt x="223" y="304"/>
                    <a:pt x="227" y="297"/>
                    <a:pt x="224" y="292"/>
                  </a:cubicBezTo>
                </a:path>
              </a:pathLst>
            </a:cu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32" name="iSlïḋè">
              <a:extLst>
                <a:ext uri="{FF2B5EF4-FFF2-40B4-BE49-F238E27FC236}">
                  <a16:creationId xmlns:a16="http://schemas.microsoft.com/office/drawing/2014/main" id="{468B0D77-6032-4837-BFCD-03384A16AE78}"/>
                </a:ext>
              </a:extLst>
            </p:cNvPr>
            <p:cNvSpPr/>
            <p:nvPr/>
          </p:nvSpPr>
          <p:spPr bwMode="auto">
            <a:xfrm>
              <a:off x="7373748" y="4304212"/>
              <a:ext cx="782711" cy="357810"/>
            </a:xfrm>
            <a:custGeom>
              <a:avLst/>
              <a:gdLst>
                <a:gd name="T0" fmla="*/ 147 w 185"/>
                <a:gd name="T1" fmla="*/ 0 h 85"/>
                <a:gd name="T2" fmla="*/ 36 w 185"/>
                <a:gd name="T3" fmla="*/ 0 h 85"/>
                <a:gd name="T4" fmla="*/ 2 w 185"/>
                <a:gd name="T5" fmla="*/ 76 h 85"/>
                <a:gd name="T6" fmla="*/ 8 w 185"/>
                <a:gd name="T7" fmla="*/ 85 h 85"/>
                <a:gd name="T8" fmla="*/ 177 w 185"/>
                <a:gd name="T9" fmla="*/ 85 h 85"/>
                <a:gd name="T10" fmla="*/ 183 w 185"/>
                <a:gd name="T11" fmla="*/ 75 h 85"/>
                <a:gd name="T12" fmla="*/ 147 w 185"/>
                <a:gd name="T1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85">
                  <a:moveTo>
                    <a:pt x="147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0" y="80"/>
                    <a:pt x="3" y="85"/>
                    <a:pt x="8" y="85"/>
                  </a:cubicBezTo>
                  <a:cubicBezTo>
                    <a:pt x="177" y="85"/>
                    <a:pt x="177" y="85"/>
                    <a:pt x="177" y="85"/>
                  </a:cubicBezTo>
                  <a:cubicBezTo>
                    <a:pt x="182" y="85"/>
                    <a:pt x="185" y="80"/>
                    <a:pt x="183" y="75"/>
                  </a:cubicBezTo>
                  <a:cubicBezTo>
                    <a:pt x="147" y="0"/>
                    <a:pt x="147" y="0"/>
                    <a:pt x="147" y="0"/>
                  </a:cubicBezTo>
                </a:path>
              </a:pathLst>
            </a:custGeom>
            <a:solidFill>
              <a:srgbClr val="324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33" name="ïṣľîḑê">
              <a:extLst>
                <a:ext uri="{FF2B5EF4-FFF2-40B4-BE49-F238E27FC236}">
                  <a16:creationId xmlns:a16="http://schemas.microsoft.com/office/drawing/2014/main" id="{E72C655E-61B1-4D76-BC49-655AA5D3D22B}"/>
                </a:ext>
              </a:extLst>
            </p:cNvPr>
            <p:cNvSpPr/>
            <p:nvPr/>
          </p:nvSpPr>
          <p:spPr bwMode="auto">
            <a:xfrm>
              <a:off x="7760021" y="3529635"/>
              <a:ext cx="215499" cy="727819"/>
            </a:xfrm>
            <a:custGeom>
              <a:avLst/>
              <a:gdLst>
                <a:gd name="T0" fmla="*/ 6 w 51"/>
                <a:gd name="T1" fmla="*/ 0 h 172"/>
                <a:gd name="T2" fmla="*/ 2 w 51"/>
                <a:gd name="T3" fmla="*/ 3 h 172"/>
                <a:gd name="T4" fmla="*/ 2 w 51"/>
                <a:gd name="T5" fmla="*/ 50 h 172"/>
                <a:gd name="T6" fmla="*/ 3 w 51"/>
                <a:gd name="T7" fmla="*/ 86 h 172"/>
                <a:gd name="T8" fmla="*/ 25 w 51"/>
                <a:gd name="T9" fmla="*/ 131 h 172"/>
                <a:gd name="T10" fmla="*/ 44 w 51"/>
                <a:gd name="T11" fmla="*/ 171 h 172"/>
                <a:gd name="T12" fmla="*/ 47 w 51"/>
                <a:gd name="T13" fmla="*/ 172 h 172"/>
                <a:gd name="T14" fmla="*/ 50 w 51"/>
                <a:gd name="T15" fmla="*/ 167 h 172"/>
                <a:gd name="T16" fmla="*/ 10 w 51"/>
                <a:gd name="T17" fmla="*/ 83 h 172"/>
                <a:gd name="T18" fmla="*/ 9 w 51"/>
                <a:gd name="T19" fmla="*/ 82 h 172"/>
                <a:gd name="T20" fmla="*/ 9 w 51"/>
                <a:gd name="T21" fmla="*/ 76 h 172"/>
                <a:gd name="T22" fmla="*/ 9 w 51"/>
                <a:gd name="T23" fmla="*/ 50 h 172"/>
                <a:gd name="T24" fmla="*/ 9 w 51"/>
                <a:gd name="T25" fmla="*/ 3 h 172"/>
                <a:gd name="T26" fmla="*/ 6 w 51"/>
                <a:gd name="T27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172">
                  <a:moveTo>
                    <a:pt x="6" y="0"/>
                  </a:moveTo>
                  <a:cubicBezTo>
                    <a:pt x="4" y="0"/>
                    <a:pt x="2" y="1"/>
                    <a:pt x="2" y="3"/>
                  </a:cubicBezTo>
                  <a:cubicBezTo>
                    <a:pt x="2" y="19"/>
                    <a:pt x="2" y="34"/>
                    <a:pt x="2" y="50"/>
                  </a:cubicBezTo>
                  <a:cubicBezTo>
                    <a:pt x="2" y="61"/>
                    <a:pt x="0" y="75"/>
                    <a:pt x="3" y="86"/>
                  </a:cubicBezTo>
                  <a:cubicBezTo>
                    <a:pt x="8" y="101"/>
                    <a:pt x="18" y="117"/>
                    <a:pt x="25" y="131"/>
                  </a:cubicBezTo>
                  <a:cubicBezTo>
                    <a:pt x="31" y="144"/>
                    <a:pt x="38" y="157"/>
                    <a:pt x="44" y="171"/>
                  </a:cubicBezTo>
                  <a:cubicBezTo>
                    <a:pt x="45" y="172"/>
                    <a:pt x="46" y="172"/>
                    <a:pt x="47" y="172"/>
                  </a:cubicBezTo>
                  <a:cubicBezTo>
                    <a:pt x="49" y="172"/>
                    <a:pt x="51" y="170"/>
                    <a:pt x="50" y="167"/>
                  </a:cubicBezTo>
                  <a:cubicBezTo>
                    <a:pt x="37" y="139"/>
                    <a:pt x="21" y="112"/>
                    <a:pt x="10" y="83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0"/>
                    <a:pt x="9" y="78"/>
                    <a:pt x="9" y="76"/>
                  </a:cubicBezTo>
                  <a:cubicBezTo>
                    <a:pt x="9" y="68"/>
                    <a:pt x="9" y="59"/>
                    <a:pt x="9" y="50"/>
                  </a:cubicBezTo>
                  <a:cubicBezTo>
                    <a:pt x="9" y="34"/>
                    <a:pt x="9" y="19"/>
                    <a:pt x="9" y="3"/>
                  </a:cubicBezTo>
                  <a:cubicBezTo>
                    <a:pt x="9" y="1"/>
                    <a:pt x="7" y="0"/>
                    <a:pt x="6" y="0"/>
                  </a:cubicBezTo>
                </a:path>
              </a:pathLst>
            </a:custGeom>
            <a:solidFill>
              <a:srgbClr val="E5E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34" name="îśliḍe">
              <a:extLst>
                <a:ext uri="{FF2B5EF4-FFF2-40B4-BE49-F238E27FC236}">
                  <a16:creationId xmlns:a16="http://schemas.microsoft.com/office/drawing/2014/main" id="{36C1A2F4-C7F4-4129-9902-E13F1851EE15}"/>
                </a:ext>
              </a:extLst>
            </p:cNvPr>
            <p:cNvSpPr/>
            <p:nvPr/>
          </p:nvSpPr>
          <p:spPr bwMode="auto">
            <a:xfrm>
              <a:off x="7792549" y="4355038"/>
              <a:ext cx="38628" cy="36594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35" name="íṥ1iḋê">
              <a:extLst>
                <a:ext uri="{FF2B5EF4-FFF2-40B4-BE49-F238E27FC236}">
                  <a16:creationId xmlns:a16="http://schemas.microsoft.com/office/drawing/2014/main" id="{08E7A2CA-8D26-4B5C-89FD-A3C82F7F49B0}"/>
                </a:ext>
              </a:extLst>
            </p:cNvPr>
            <p:cNvSpPr/>
            <p:nvPr/>
          </p:nvSpPr>
          <p:spPr bwMode="auto">
            <a:xfrm>
              <a:off x="7894199" y="4304212"/>
              <a:ext cx="38628" cy="36594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36" name="î$ḷïďê">
              <a:extLst>
                <a:ext uri="{FF2B5EF4-FFF2-40B4-BE49-F238E27FC236}">
                  <a16:creationId xmlns:a16="http://schemas.microsoft.com/office/drawing/2014/main" id="{C518377A-463A-468E-A95F-9051D837E571}"/>
                </a:ext>
              </a:extLst>
            </p:cNvPr>
            <p:cNvSpPr/>
            <p:nvPr/>
          </p:nvSpPr>
          <p:spPr bwMode="auto">
            <a:xfrm>
              <a:off x="7902332" y="4485151"/>
              <a:ext cx="38628" cy="34562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37" name="işḷïdê">
              <a:extLst>
                <a:ext uri="{FF2B5EF4-FFF2-40B4-BE49-F238E27FC236}">
                  <a16:creationId xmlns:a16="http://schemas.microsoft.com/office/drawing/2014/main" id="{2CA70880-2853-40DF-B61D-BFC48D35CF4E}"/>
                </a:ext>
              </a:extLst>
            </p:cNvPr>
            <p:cNvSpPr/>
            <p:nvPr/>
          </p:nvSpPr>
          <p:spPr bwMode="auto">
            <a:xfrm>
              <a:off x="7772219" y="4137505"/>
              <a:ext cx="32528" cy="38628"/>
            </a:xfrm>
            <a:prstGeom prst="ellipse">
              <a:avLst/>
            </a:prstGeom>
            <a:solidFill>
              <a:srgbClr val="DE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38" name="ïśliḑé">
              <a:extLst>
                <a:ext uri="{FF2B5EF4-FFF2-40B4-BE49-F238E27FC236}">
                  <a16:creationId xmlns:a16="http://schemas.microsoft.com/office/drawing/2014/main" id="{617A5873-2E66-4043-998E-C488451937AB}"/>
                </a:ext>
              </a:extLst>
            </p:cNvPr>
            <p:cNvSpPr/>
            <p:nvPr/>
          </p:nvSpPr>
          <p:spPr bwMode="auto">
            <a:xfrm>
              <a:off x="7670568" y="4202561"/>
              <a:ext cx="34562" cy="36594"/>
            </a:xfrm>
            <a:prstGeom prst="ellipse">
              <a:avLst/>
            </a:prstGeom>
            <a:solidFill>
              <a:srgbClr val="DE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39" name="íşliḑe">
              <a:extLst>
                <a:ext uri="{FF2B5EF4-FFF2-40B4-BE49-F238E27FC236}">
                  <a16:creationId xmlns:a16="http://schemas.microsoft.com/office/drawing/2014/main" id="{C8065A98-D8CF-4589-80C0-AE5A2B0EF769}"/>
                </a:ext>
              </a:extLst>
            </p:cNvPr>
            <p:cNvSpPr/>
            <p:nvPr/>
          </p:nvSpPr>
          <p:spPr bwMode="auto">
            <a:xfrm>
              <a:off x="7823043" y="4243222"/>
              <a:ext cx="32528" cy="38628"/>
            </a:xfrm>
            <a:prstGeom prst="ellipse">
              <a:avLst/>
            </a:prstGeom>
            <a:solidFill>
              <a:srgbClr val="DE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40" name="íṣ1ídè">
              <a:extLst>
                <a:ext uri="{FF2B5EF4-FFF2-40B4-BE49-F238E27FC236}">
                  <a16:creationId xmlns:a16="http://schemas.microsoft.com/office/drawing/2014/main" id="{03116EC7-7510-4C32-BE1F-15147EEA739D}"/>
                </a:ext>
              </a:extLst>
            </p:cNvPr>
            <p:cNvSpPr/>
            <p:nvPr/>
          </p:nvSpPr>
          <p:spPr bwMode="auto">
            <a:xfrm>
              <a:off x="7705129" y="4041954"/>
              <a:ext cx="36594" cy="32528"/>
            </a:xfrm>
            <a:prstGeom prst="ellipse">
              <a:avLst/>
            </a:prstGeom>
            <a:solidFill>
              <a:srgbClr val="DE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41" name="íšḷídê">
              <a:extLst>
                <a:ext uri="{FF2B5EF4-FFF2-40B4-BE49-F238E27FC236}">
                  <a16:creationId xmlns:a16="http://schemas.microsoft.com/office/drawing/2014/main" id="{F24D986F-91D0-4154-9C65-784C653E64AA}"/>
                </a:ext>
              </a:extLst>
            </p:cNvPr>
            <p:cNvSpPr/>
            <p:nvPr/>
          </p:nvSpPr>
          <p:spPr bwMode="auto">
            <a:xfrm>
              <a:off x="7914530" y="4399764"/>
              <a:ext cx="34562" cy="34562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42" name="îṧḷîḍé">
              <a:extLst>
                <a:ext uri="{FF2B5EF4-FFF2-40B4-BE49-F238E27FC236}">
                  <a16:creationId xmlns:a16="http://schemas.microsoft.com/office/drawing/2014/main" id="{F8059D3A-EAA6-46B9-B90F-5FE17B845BD2}"/>
                </a:ext>
              </a:extLst>
            </p:cNvPr>
            <p:cNvSpPr/>
            <p:nvPr/>
          </p:nvSpPr>
          <p:spPr bwMode="auto">
            <a:xfrm>
              <a:off x="7814911" y="4446523"/>
              <a:ext cx="32528" cy="38628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43" name="iṣlíḍe">
              <a:extLst>
                <a:ext uri="{FF2B5EF4-FFF2-40B4-BE49-F238E27FC236}">
                  <a16:creationId xmlns:a16="http://schemas.microsoft.com/office/drawing/2014/main" id="{0BEEBDE4-C48E-4ED1-B10B-82B4D1B1CE0C}"/>
                </a:ext>
              </a:extLst>
            </p:cNvPr>
            <p:cNvSpPr/>
            <p:nvPr/>
          </p:nvSpPr>
          <p:spPr bwMode="auto">
            <a:xfrm>
              <a:off x="7717327" y="4442457"/>
              <a:ext cx="32528" cy="34562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44" name="ï$ḻíḓè">
              <a:extLst>
                <a:ext uri="{FF2B5EF4-FFF2-40B4-BE49-F238E27FC236}">
                  <a16:creationId xmlns:a16="http://schemas.microsoft.com/office/drawing/2014/main" id="{2EF70577-F1A8-455F-A45A-DB314176BC0F}"/>
                </a:ext>
              </a:extLst>
            </p:cNvPr>
            <p:cNvSpPr/>
            <p:nvPr/>
          </p:nvSpPr>
          <p:spPr bwMode="auto">
            <a:xfrm>
              <a:off x="7658370" y="4340806"/>
              <a:ext cx="32528" cy="34562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45" name="îṥļïḑe">
              <a:extLst>
                <a:ext uri="{FF2B5EF4-FFF2-40B4-BE49-F238E27FC236}">
                  <a16:creationId xmlns:a16="http://schemas.microsoft.com/office/drawing/2014/main" id="{80E95ACF-7207-4DB2-AC03-AC7AA4C7098B}"/>
                </a:ext>
              </a:extLst>
            </p:cNvPr>
            <p:cNvSpPr/>
            <p:nvPr/>
          </p:nvSpPr>
          <p:spPr bwMode="auto">
            <a:xfrm>
              <a:off x="7379847" y="4637626"/>
              <a:ext cx="772545" cy="28462"/>
            </a:xfrm>
            <a:custGeom>
              <a:avLst/>
              <a:gdLst>
                <a:gd name="T0" fmla="*/ 0 w 183"/>
                <a:gd name="T1" fmla="*/ 0 h 7"/>
                <a:gd name="T2" fmla="*/ 7 w 183"/>
                <a:gd name="T3" fmla="*/ 7 h 7"/>
                <a:gd name="T4" fmla="*/ 176 w 183"/>
                <a:gd name="T5" fmla="*/ 7 h 7"/>
                <a:gd name="T6" fmla="*/ 183 w 183"/>
                <a:gd name="T7" fmla="*/ 0 h 7"/>
                <a:gd name="T8" fmla="*/ 176 w 183"/>
                <a:gd name="T9" fmla="*/ 6 h 7"/>
                <a:gd name="T10" fmla="*/ 7 w 183"/>
                <a:gd name="T11" fmla="*/ 6 h 7"/>
                <a:gd name="T12" fmla="*/ 0 w 18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7">
                  <a:moveTo>
                    <a:pt x="0" y="0"/>
                  </a:moveTo>
                  <a:cubicBezTo>
                    <a:pt x="0" y="3"/>
                    <a:pt x="3" y="7"/>
                    <a:pt x="7" y="7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80" y="7"/>
                    <a:pt x="183" y="3"/>
                    <a:pt x="183" y="0"/>
                  </a:cubicBezTo>
                  <a:cubicBezTo>
                    <a:pt x="183" y="3"/>
                    <a:pt x="180" y="6"/>
                    <a:pt x="176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3" y="6"/>
                    <a:pt x="0" y="3"/>
                    <a:pt x="0" y="0"/>
                  </a:cubicBezTo>
                </a:path>
              </a:pathLst>
            </a:custGeom>
            <a:solidFill>
              <a:srgbClr val="8B9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46" name="îṧḷíḍe">
              <a:extLst>
                <a:ext uri="{FF2B5EF4-FFF2-40B4-BE49-F238E27FC236}">
                  <a16:creationId xmlns:a16="http://schemas.microsoft.com/office/drawing/2014/main" id="{C81665A0-5B7F-445F-9E1A-5804AA63CEBB}"/>
                </a:ext>
              </a:extLst>
            </p:cNvPr>
            <p:cNvSpPr/>
            <p:nvPr/>
          </p:nvSpPr>
          <p:spPr bwMode="auto">
            <a:xfrm>
              <a:off x="7379847" y="4332674"/>
              <a:ext cx="772545" cy="329348"/>
            </a:xfrm>
            <a:custGeom>
              <a:avLst/>
              <a:gdLst>
                <a:gd name="T0" fmla="*/ 32 w 183"/>
                <a:gd name="T1" fmla="*/ 0 h 78"/>
                <a:gd name="T2" fmla="*/ 1 w 183"/>
                <a:gd name="T3" fmla="*/ 69 h 78"/>
                <a:gd name="T4" fmla="*/ 0 w 183"/>
                <a:gd name="T5" fmla="*/ 72 h 78"/>
                <a:gd name="T6" fmla="*/ 7 w 183"/>
                <a:gd name="T7" fmla="*/ 78 h 78"/>
                <a:gd name="T8" fmla="*/ 176 w 183"/>
                <a:gd name="T9" fmla="*/ 78 h 78"/>
                <a:gd name="T10" fmla="*/ 183 w 183"/>
                <a:gd name="T11" fmla="*/ 72 h 78"/>
                <a:gd name="T12" fmla="*/ 182 w 183"/>
                <a:gd name="T13" fmla="*/ 69 h 78"/>
                <a:gd name="T14" fmla="*/ 179 w 183"/>
                <a:gd name="T15" fmla="*/ 63 h 78"/>
                <a:gd name="T16" fmla="*/ 32 w 183"/>
                <a:gd name="T17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8">
                  <a:moveTo>
                    <a:pt x="32" y="0"/>
                  </a:moveTo>
                  <a:cubicBezTo>
                    <a:pt x="1" y="69"/>
                    <a:pt x="1" y="69"/>
                    <a:pt x="1" y="69"/>
                  </a:cubicBezTo>
                  <a:cubicBezTo>
                    <a:pt x="0" y="70"/>
                    <a:pt x="0" y="71"/>
                    <a:pt x="0" y="72"/>
                  </a:cubicBezTo>
                  <a:cubicBezTo>
                    <a:pt x="0" y="75"/>
                    <a:pt x="3" y="78"/>
                    <a:pt x="7" y="78"/>
                  </a:cubicBezTo>
                  <a:cubicBezTo>
                    <a:pt x="176" y="78"/>
                    <a:pt x="176" y="78"/>
                    <a:pt x="176" y="78"/>
                  </a:cubicBezTo>
                  <a:cubicBezTo>
                    <a:pt x="180" y="78"/>
                    <a:pt x="183" y="75"/>
                    <a:pt x="183" y="72"/>
                  </a:cubicBezTo>
                  <a:cubicBezTo>
                    <a:pt x="183" y="71"/>
                    <a:pt x="182" y="70"/>
                    <a:pt x="182" y="69"/>
                  </a:cubicBezTo>
                  <a:cubicBezTo>
                    <a:pt x="179" y="63"/>
                    <a:pt x="179" y="63"/>
                    <a:pt x="179" y="63"/>
                  </a:cubicBezTo>
                  <a:cubicBezTo>
                    <a:pt x="97" y="63"/>
                    <a:pt x="53" y="25"/>
                    <a:pt x="32" y="0"/>
                  </a:cubicBezTo>
                </a:path>
              </a:pathLst>
            </a:custGeom>
            <a:solidFill>
              <a:srgbClr val="243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47" name="iṩ1íḑê">
              <a:extLst>
                <a:ext uri="{FF2B5EF4-FFF2-40B4-BE49-F238E27FC236}">
                  <a16:creationId xmlns:a16="http://schemas.microsoft.com/office/drawing/2014/main" id="{ADB1AF2C-FF13-44B1-A37A-679C775DE674}"/>
                </a:ext>
              </a:extLst>
            </p:cNvPr>
            <p:cNvSpPr/>
            <p:nvPr/>
          </p:nvSpPr>
          <p:spPr bwMode="auto">
            <a:xfrm>
              <a:off x="7749855" y="4509547"/>
              <a:ext cx="38628" cy="38628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48" name="îṧļîdê">
              <a:extLst>
                <a:ext uri="{FF2B5EF4-FFF2-40B4-BE49-F238E27FC236}">
                  <a16:creationId xmlns:a16="http://schemas.microsoft.com/office/drawing/2014/main" id="{3DEF9B11-B889-45C1-B610-7DC7C4ADA362}"/>
                </a:ext>
              </a:extLst>
            </p:cNvPr>
            <p:cNvSpPr/>
            <p:nvPr/>
          </p:nvSpPr>
          <p:spPr bwMode="auto">
            <a:xfrm>
              <a:off x="3183708" y="2265101"/>
              <a:ext cx="811173" cy="2173291"/>
            </a:xfrm>
            <a:custGeom>
              <a:avLst/>
              <a:gdLst>
                <a:gd name="T0" fmla="*/ 155 w 192"/>
                <a:gd name="T1" fmla="*/ 7 h 514"/>
                <a:gd name="T2" fmla="*/ 17 w 192"/>
                <a:gd name="T3" fmla="*/ 184 h 514"/>
                <a:gd name="T4" fmla="*/ 17 w 192"/>
                <a:gd name="T5" fmla="*/ 440 h 514"/>
                <a:gd name="T6" fmla="*/ 37 w 192"/>
                <a:gd name="T7" fmla="*/ 511 h 514"/>
                <a:gd name="T8" fmla="*/ 61 w 192"/>
                <a:gd name="T9" fmla="*/ 503 h 514"/>
                <a:gd name="T10" fmla="*/ 65 w 192"/>
                <a:gd name="T11" fmla="*/ 485 h 514"/>
                <a:gd name="T12" fmla="*/ 62 w 192"/>
                <a:gd name="T13" fmla="*/ 476 h 514"/>
                <a:gd name="T14" fmla="*/ 62 w 192"/>
                <a:gd name="T15" fmla="*/ 475 h 514"/>
                <a:gd name="T16" fmla="*/ 58 w 192"/>
                <a:gd name="T17" fmla="*/ 418 h 514"/>
                <a:gd name="T18" fmla="*/ 60 w 192"/>
                <a:gd name="T19" fmla="*/ 185 h 514"/>
                <a:gd name="T20" fmla="*/ 166 w 192"/>
                <a:gd name="T21" fmla="*/ 43 h 514"/>
                <a:gd name="T22" fmla="*/ 155 w 192"/>
                <a:gd name="T23" fmla="*/ 7 h 514"/>
                <a:gd name="T24" fmla="*/ 22 w 192"/>
                <a:gd name="T25" fmla="*/ 489 h 514"/>
                <a:gd name="T26" fmla="*/ 22 w 192"/>
                <a:gd name="T27" fmla="*/ 489 h 514"/>
                <a:gd name="T28" fmla="*/ 63 w 192"/>
                <a:gd name="T29" fmla="*/ 487 h 514"/>
                <a:gd name="T30" fmla="*/ 64 w 192"/>
                <a:gd name="T31" fmla="*/ 485 h 514"/>
                <a:gd name="T32" fmla="*/ 63 w 192"/>
                <a:gd name="T33" fmla="*/ 487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2" h="514">
                  <a:moveTo>
                    <a:pt x="155" y="7"/>
                  </a:moveTo>
                  <a:cubicBezTo>
                    <a:pt x="72" y="28"/>
                    <a:pt x="30" y="117"/>
                    <a:pt x="17" y="184"/>
                  </a:cubicBezTo>
                  <a:cubicBezTo>
                    <a:pt x="0" y="268"/>
                    <a:pt x="11" y="355"/>
                    <a:pt x="17" y="440"/>
                  </a:cubicBezTo>
                  <a:cubicBezTo>
                    <a:pt x="18" y="457"/>
                    <a:pt x="12" y="505"/>
                    <a:pt x="37" y="511"/>
                  </a:cubicBezTo>
                  <a:cubicBezTo>
                    <a:pt x="46" y="514"/>
                    <a:pt x="57" y="510"/>
                    <a:pt x="61" y="503"/>
                  </a:cubicBezTo>
                  <a:cubicBezTo>
                    <a:pt x="65" y="498"/>
                    <a:pt x="65" y="491"/>
                    <a:pt x="65" y="485"/>
                  </a:cubicBezTo>
                  <a:cubicBezTo>
                    <a:pt x="65" y="482"/>
                    <a:pt x="64" y="479"/>
                    <a:pt x="62" y="476"/>
                  </a:cubicBezTo>
                  <a:cubicBezTo>
                    <a:pt x="62" y="476"/>
                    <a:pt x="62" y="475"/>
                    <a:pt x="62" y="475"/>
                  </a:cubicBezTo>
                  <a:cubicBezTo>
                    <a:pt x="60" y="456"/>
                    <a:pt x="59" y="437"/>
                    <a:pt x="58" y="418"/>
                  </a:cubicBezTo>
                  <a:cubicBezTo>
                    <a:pt x="53" y="341"/>
                    <a:pt x="43" y="261"/>
                    <a:pt x="60" y="185"/>
                  </a:cubicBezTo>
                  <a:cubicBezTo>
                    <a:pt x="72" y="133"/>
                    <a:pt x="108" y="58"/>
                    <a:pt x="166" y="43"/>
                  </a:cubicBezTo>
                  <a:cubicBezTo>
                    <a:pt x="192" y="36"/>
                    <a:pt x="181" y="0"/>
                    <a:pt x="155" y="7"/>
                  </a:cubicBezTo>
                  <a:moveTo>
                    <a:pt x="22" y="489"/>
                  </a:moveTo>
                  <a:cubicBezTo>
                    <a:pt x="22" y="491"/>
                    <a:pt x="21" y="491"/>
                    <a:pt x="22" y="489"/>
                  </a:cubicBezTo>
                  <a:moveTo>
                    <a:pt x="63" y="487"/>
                  </a:moveTo>
                  <a:cubicBezTo>
                    <a:pt x="63" y="487"/>
                    <a:pt x="63" y="486"/>
                    <a:pt x="64" y="485"/>
                  </a:cubicBezTo>
                  <a:cubicBezTo>
                    <a:pt x="64" y="488"/>
                    <a:pt x="62" y="489"/>
                    <a:pt x="63" y="487"/>
                  </a:cubicBezTo>
                </a:path>
              </a:pathLst>
            </a:cu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49" name="ïşliḑê">
              <a:extLst>
                <a:ext uri="{FF2B5EF4-FFF2-40B4-BE49-F238E27FC236}">
                  <a16:creationId xmlns:a16="http://schemas.microsoft.com/office/drawing/2014/main" id="{392E3927-08CE-4178-A863-8FF4304D2E4E}"/>
                </a:ext>
              </a:extLst>
            </p:cNvPr>
            <p:cNvSpPr/>
            <p:nvPr/>
          </p:nvSpPr>
          <p:spPr bwMode="auto">
            <a:xfrm>
              <a:off x="2960077" y="4168001"/>
              <a:ext cx="1880537" cy="266325"/>
            </a:xfrm>
            <a:custGeom>
              <a:avLst/>
              <a:gdLst>
                <a:gd name="T0" fmla="*/ 438 w 445"/>
                <a:gd name="T1" fmla="*/ 63 h 63"/>
                <a:gd name="T2" fmla="*/ 7 w 445"/>
                <a:gd name="T3" fmla="*/ 63 h 63"/>
                <a:gd name="T4" fmla="*/ 0 w 445"/>
                <a:gd name="T5" fmla="*/ 56 h 63"/>
                <a:gd name="T6" fmla="*/ 0 w 445"/>
                <a:gd name="T7" fmla="*/ 8 h 63"/>
                <a:gd name="T8" fmla="*/ 7 w 445"/>
                <a:gd name="T9" fmla="*/ 0 h 63"/>
                <a:gd name="T10" fmla="*/ 438 w 445"/>
                <a:gd name="T11" fmla="*/ 0 h 63"/>
                <a:gd name="T12" fmla="*/ 445 w 445"/>
                <a:gd name="T13" fmla="*/ 8 h 63"/>
                <a:gd name="T14" fmla="*/ 445 w 445"/>
                <a:gd name="T15" fmla="*/ 56 h 63"/>
                <a:gd name="T16" fmla="*/ 438 w 445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5" h="63">
                  <a:moveTo>
                    <a:pt x="438" y="63"/>
                  </a:moveTo>
                  <a:cubicBezTo>
                    <a:pt x="7" y="63"/>
                    <a:pt x="7" y="63"/>
                    <a:pt x="7" y="63"/>
                  </a:cubicBezTo>
                  <a:cubicBezTo>
                    <a:pt x="3" y="63"/>
                    <a:pt x="0" y="60"/>
                    <a:pt x="0" y="5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438" y="0"/>
                    <a:pt x="438" y="0"/>
                    <a:pt x="438" y="0"/>
                  </a:cubicBezTo>
                  <a:cubicBezTo>
                    <a:pt x="442" y="0"/>
                    <a:pt x="445" y="4"/>
                    <a:pt x="445" y="8"/>
                  </a:cubicBezTo>
                  <a:cubicBezTo>
                    <a:pt x="445" y="56"/>
                    <a:pt x="445" y="56"/>
                    <a:pt x="445" y="56"/>
                  </a:cubicBezTo>
                  <a:cubicBezTo>
                    <a:pt x="445" y="60"/>
                    <a:pt x="442" y="63"/>
                    <a:pt x="438" y="63"/>
                  </a:cubicBezTo>
                </a:path>
              </a:pathLst>
            </a:cu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0" name="íš1îḓé">
              <a:extLst>
                <a:ext uri="{FF2B5EF4-FFF2-40B4-BE49-F238E27FC236}">
                  <a16:creationId xmlns:a16="http://schemas.microsoft.com/office/drawing/2014/main" id="{748A5E2D-823F-467C-8897-CD2661134D96}"/>
                </a:ext>
              </a:extLst>
            </p:cNvPr>
            <p:cNvSpPr/>
            <p:nvPr/>
          </p:nvSpPr>
          <p:spPr bwMode="auto">
            <a:xfrm>
              <a:off x="3893230" y="1817838"/>
              <a:ext cx="630234" cy="1144587"/>
            </a:xfrm>
            <a:custGeom>
              <a:avLst/>
              <a:gdLst>
                <a:gd name="T0" fmla="*/ 143 w 149"/>
                <a:gd name="T1" fmla="*/ 271 h 271"/>
                <a:gd name="T2" fmla="*/ 6 w 149"/>
                <a:gd name="T3" fmla="*/ 271 h 271"/>
                <a:gd name="T4" fmla="*/ 0 w 149"/>
                <a:gd name="T5" fmla="*/ 265 h 271"/>
                <a:gd name="T6" fmla="*/ 0 w 149"/>
                <a:gd name="T7" fmla="*/ 7 h 271"/>
                <a:gd name="T8" fmla="*/ 6 w 149"/>
                <a:gd name="T9" fmla="*/ 0 h 271"/>
                <a:gd name="T10" fmla="*/ 143 w 149"/>
                <a:gd name="T11" fmla="*/ 0 h 271"/>
                <a:gd name="T12" fmla="*/ 149 w 149"/>
                <a:gd name="T13" fmla="*/ 7 h 271"/>
                <a:gd name="T14" fmla="*/ 149 w 149"/>
                <a:gd name="T15" fmla="*/ 265 h 271"/>
                <a:gd name="T16" fmla="*/ 143 w 149"/>
                <a:gd name="T1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271">
                  <a:moveTo>
                    <a:pt x="143" y="271"/>
                  </a:moveTo>
                  <a:cubicBezTo>
                    <a:pt x="6" y="271"/>
                    <a:pt x="6" y="271"/>
                    <a:pt x="6" y="271"/>
                  </a:cubicBezTo>
                  <a:cubicBezTo>
                    <a:pt x="3" y="271"/>
                    <a:pt x="0" y="268"/>
                    <a:pt x="0" y="26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6" y="0"/>
                    <a:pt x="149" y="3"/>
                    <a:pt x="149" y="7"/>
                  </a:cubicBezTo>
                  <a:cubicBezTo>
                    <a:pt x="149" y="265"/>
                    <a:pt x="149" y="265"/>
                    <a:pt x="149" y="265"/>
                  </a:cubicBezTo>
                  <a:cubicBezTo>
                    <a:pt x="149" y="268"/>
                    <a:pt x="146" y="271"/>
                    <a:pt x="143" y="271"/>
                  </a:cubicBezTo>
                </a:path>
              </a:pathLst>
            </a:custGeom>
            <a:solidFill>
              <a:srgbClr val="324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1" name="íŝlîďé">
              <a:extLst>
                <a:ext uri="{FF2B5EF4-FFF2-40B4-BE49-F238E27FC236}">
                  <a16:creationId xmlns:a16="http://schemas.microsoft.com/office/drawing/2014/main" id="{3118940E-EA4B-464B-8AA5-46421CEC2D97}"/>
                </a:ext>
              </a:extLst>
            </p:cNvPr>
            <p:cNvSpPr/>
            <p:nvPr/>
          </p:nvSpPr>
          <p:spPr bwMode="auto">
            <a:xfrm>
              <a:off x="4023343" y="2950226"/>
              <a:ext cx="372042" cy="136212"/>
            </a:xfrm>
            <a:custGeom>
              <a:avLst/>
              <a:gdLst>
                <a:gd name="T0" fmla="*/ 87 w 88"/>
                <a:gd name="T1" fmla="*/ 32 h 32"/>
                <a:gd name="T2" fmla="*/ 1 w 88"/>
                <a:gd name="T3" fmla="*/ 32 h 32"/>
                <a:gd name="T4" fmla="*/ 0 w 88"/>
                <a:gd name="T5" fmla="*/ 31 h 32"/>
                <a:gd name="T6" fmla="*/ 0 w 88"/>
                <a:gd name="T7" fmla="*/ 2 h 32"/>
                <a:gd name="T8" fmla="*/ 1 w 88"/>
                <a:gd name="T9" fmla="*/ 0 h 32"/>
                <a:gd name="T10" fmla="*/ 87 w 88"/>
                <a:gd name="T11" fmla="*/ 0 h 32"/>
                <a:gd name="T12" fmla="*/ 88 w 88"/>
                <a:gd name="T13" fmla="*/ 2 h 32"/>
                <a:gd name="T14" fmla="*/ 88 w 88"/>
                <a:gd name="T15" fmla="*/ 31 h 32"/>
                <a:gd name="T16" fmla="*/ 87 w 88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32">
                  <a:moveTo>
                    <a:pt x="87" y="32"/>
                  </a:moveTo>
                  <a:cubicBezTo>
                    <a:pt x="1" y="32"/>
                    <a:pt x="1" y="32"/>
                    <a:pt x="1" y="32"/>
                  </a:cubicBezTo>
                  <a:cubicBezTo>
                    <a:pt x="0" y="32"/>
                    <a:pt x="0" y="31"/>
                    <a:pt x="0" y="3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8" y="0"/>
                    <a:pt x="88" y="1"/>
                    <a:pt x="88" y="2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2"/>
                    <a:pt x="87" y="32"/>
                  </a:cubicBezTo>
                </a:path>
              </a:pathLst>
            </a:cu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2" name="ïŝliḍê">
              <a:extLst>
                <a:ext uri="{FF2B5EF4-FFF2-40B4-BE49-F238E27FC236}">
                  <a16:creationId xmlns:a16="http://schemas.microsoft.com/office/drawing/2014/main" id="{BF333CF2-49F3-4668-B675-3E8F64444D12}"/>
                </a:ext>
              </a:extLst>
            </p:cNvPr>
            <p:cNvSpPr/>
            <p:nvPr/>
          </p:nvSpPr>
          <p:spPr bwMode="auto">
            <a:xfrm>
              <a:off x="3002771" y="3444248"/>
              <a:ext cx="1782953" cy="276490"/>
            </a:xfrm>
            <a:custGeom>
              <a:avLst/>
              <a:gdLst>
                <a:gd name="T0" fmla="*/ 418 w 422"/>
                <a:gd name="T1" fmla="*/ 65 h 65"/>
                <a:gd name="T2" fmla="*/ 3 w 422"/>
                <a:gd name="T3" fmla="*/ 65 h 65"/>
                <a:gd name="T4" fmla="*/ 0 w 422"/>
                <a:gd name="T5" fmla="*/ 62 h 65"/>
                <a:gd name="T6" fmla="*/ 0 w 422"/>
                <a:gd name="T7" fmla="*/ 3 h 65"/>
                <a:gd name="T8" fmla="*/ 3 w 422"/>
                <a:gd name="T9" fmla="*/ 0 h 65"/>
                <a:gd name="T10" fmla="*/ 418 w 422"/>
                <a:gd name="T11" fmla="*/ 0 h 65"/>
                <a:gd name="T12" fmla="*/ 422 w 422"/>
                <a:gd name="T13" fmla="*/ 3 h 65"/>
                <a:gd name="T14" fmla="*/ 422 w 422"/>
                <a:gd name="T15" fmla="*/ 62 h 65"/>
                <a:gd name="T16" fmla="*/ 418 w 422"/>
                <a:gd name="T1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65">
                  <a:moveTo>
                    <a:pt x="418" y="65"/>
                  </a:moveTo>
                  <a:cubicBezTo>
                    <a:pt x="3" y="65"/>
                    <a:pt x="3" y="65"/>
                    <a:pt x="3" y="65"/>
                  </a:cubicBezTo>
                  <a:cubicBezTo>
                    <a:pt x="1" y="65"/>
                    <a:pt x="0" y="64"/>
                    <a:pt x="0" y="6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420" y="0"/>
                    <a:pt x="422" y="1"/>
                    <a:pt x="422" y="3"/>
                  </a:cubicBezTo>
                  <a:cubicBezTo>
                    <a:pt x="422" y="62"/>
                    <a:pt x="422" y="62"/>
                    <a:pt x="422" y="62"/>
                  </a:cubicBezTo>
                  <a:cubicBezTo>
                    <a:pt x="422" y="64"/>
                    <a:pt x="420" y="65"/>
                    <a:pt x="418" y="65"/>
                  </a:cubicBezTo>
                </a:path>
              </a:pathLst>
            </a:custGeom>
            <a:solidFill>
              <a:srgbClr val="324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3" name="ïṣļiḓê">
              <a:extLst>
                <a:ext uri="{FF2B5EF4-FFF2-40B4-BE49-F238E27FC236}">
                  <a16:creationId xmlns:a16="http://schemas.microsoft.com/office/drawing/2014/main" id="{A10D3E1A-1E21-4D0A-B08A-1934E93A5962}"/>
                </a:ext>
              </a:extLst>
            </p:cNvPr>
            <p:cNvSpPr/>
            <p:nvPr/>
          </p:nvSpPr>
          <p:spPr bwMode="auto">
            <a:xfrm>
              <a:off x="3226402" y="3499139"/>
              <a:ext cx="164675" cy="166707"/>
            </a:xfrm>
            <a:prstGeom prst="ellipse">
              <a:avLst/>
            </a:pr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4" name="îşļîdé">
              <a:extLst>
                <a:ext uri="{FF2B5EF4-FFF2-40B4-BE49-F238E27FC236}">
                  <a16:creationId xmlns:a16="http://schemas.microsoft.com/office/drawing/2014/main" id="{0F80DB43-C954-4478-A712-4CCAFDF1506C}"/>
                </a:ext>
              </a:extLst>
            </p:cNvPr>
            <p:cNvSpPr/>
            <p:nvPr/>
          </p:nvSpPr>
          <p:spPr bwMode="auto">
            <a:xfrm>
              <a:off x="3757018" y="2226473"/>
              <a:ext cx="284622" cy="280556"/>
            </a:xfrm>
            <a:prstGeom prst="ellipse">
              <a:avLst/>
            </a:pr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5" name="iṥlïďé">
              <a:extLst>
                <a:ext uri="{FF2B5EF4-FFF2-40B4-BE49-F238E27FC236}">
                  <a16:creationId xmlns:a16="http://schemas.microsoft.com/office/drawing/2014/main" id="{A2E7CC73-F2B1-4918-BBE3-02C052BCB941}"/>
                </a:ext>
              </a:extLst>
            </p:cNvPr>
            <p:cNvSpPr/>
            <p:nvPr/>
          </p:nvSpPr>
          <p:spPr bwMode="auto">
            <a:xfrm>
              <a:off x="4409616" y="1897125"/>
              <a:ext cx="44726" cy="931120"/>
            </a:xfrm>
            <a:custGeom>
              <a:avLst/>
              <a:gdLst>
                <a:gd name="T0" fmla="*/ 6 w 11"/>
                <a:gd name="T1" fmla="*/ 0 h 220"/>
                <a:gd name="T2" fmla="*/ 0 w 11"/>
                <a:gd name="T3" fmla="*/ 10 h 220"/>
                <a:gd name="T4" fmla="*/ 0 w 11"/>
                <a:gd name="T5" fmla="*/ 213 h 220"/>
                <a:gd name="T6" fmla="*/ 10 w 11"/>
                <a:gd name="T7" fmla="*/ 220 h 220"/>
                <a:gd name="T8" fmla="*/ 11 w 11"/>
                <a:gd name="T9" fmla="*/ 213 h 220"/>
                <a:gd name="T10" fmla="*/ 11 w 11"/>
                <a:gd name="T11" fmla="*/ 10 h 220"/>
                <a:gd name="T12" fmla="*/ 6 w 11"/>
                <a:gd name="T13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20">
                  <a:moveTo>
                    <a:pt x="6" y="0"/>
                  </a:moveTo>
                  <a:cubicBezTo>
                    <a:pt x="3" y="0"/>
                    <a:pt x="0" y="3"/>
                    <a:pt x="0" y="10"/>
                  </a:cubicBezTo>
                  <a:cubicBezTo>
                    <a:pt x="0" y="78"/>
                    <a:pt x="0" y="146"/>
                    <a:pt x="0" y="213"/>
                  </a:cubicBezTo>
                  <a:cubicBezTo>
                    <a:pt x="4" y="215"/>
                    <a:pt x="7" y="218"/>
                    <a:pt x="10" y="220"/>
                  </a:cubicBezTo>
                  <a:cubicBezTo>
                    <a:pt x="11" y="218"/>
                    <a:pt x="11" y="216"/>
                    <a:pt x="11" y="213"/>
                  </a:cubicBezTo>
                  <a:cubicBezTo>
                    <a:pt x="11" y="146"/>
                    <a:pt x="11" y="78"/>
                    <a:pt x="11" y="10"/>
                  </a:cubicBezTo>
                  <a:cubicBezTo>
                    <a:pt x="11" y="3"/>
                    <a:pt x="9" y="0"/>
                    <a:pt x="6" y="0"/>
                  </a:cubicBezTo>
                </a:path>
              </a:pathLst>
            </a:custGeom>
            <a:solidFill>
              <a:srgbClr val="273D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6" name="iṥļîďê">
              <a:extLst>
                <a:ext uri="{FF2B5EF4-FFF2-40B4-BE49-F238E27FC236}">
                  <a16:creationId xmlns:a16="http://schemas.microsoft.com/office/drawing/2014/main" id="{322ACAE5-230A-4A60-BE35-56A4CF028077}"/>
                </a:ext>
              </a:extLst>
            </p:cNvPr>
            <p:cNvSpPr/>
            <p:nvPr/>
          </p:nvSpPr>
          <p:spPr bwMode="auto">
            <a:xfrm>
              <a:off x="3893230" y="2151252"/>
              <a:ext cx="38628" cy="75222"/>
            </a:xfrm>
            <a:custGeom>
              <a:avLst/>
              <a:gdLst>
                <a:gd name="T0" fmla="*/ 0 w 9"/>
                <a:gd name="T1" fmla="*/ 0 h 18"/>
                <a:gd name="T2" fmla="*/ 0 w 9"/>
                <a:gd name="T3" fmla="*/ 18 h 18"/>
                <a:gd name="T4" fmla="*/ 2 w 9"/>
                <a:gd name="T5" fmla="*/ 18 h 18"/>
                <a:gd name="T6" fmla="*/ 9 w 9"/>
                <a:gd name="T7" fmla="*/ 18 h 18"/>
                <a:gd name="T8" fmla="*/ 0 w 9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8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1" y="18"/>
                    <a:pt x="2" y="18"/>
                  </a:cubicBezTo>
                  <a:cubicBezTo>
                    <a:pt x="4" y="18"/>
                    <a:pt x="6" y="18"/>
                    <a:pt x="9" y="18"/>
                  </a:cubicBezTo>
                  <a:cubicBezTo>
                    <a:pt x="5" y="12"/>
                    <a:pt x="2" y="6"/>
                    <a:pt x="0" y="0"/>
                  </a:cubicBezTo>
                </a:path>
              </a:pathLst>
            </a:custGeom>
            <a:solidFill>
              <a:srgbClr val="243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7" name="î$ḷïḑè">
              <a:extLst>
                <a:ext uri="{FF2B5EF4-FFF2-40B4-BE49-F238E27FC236}">
                  <a16:creationId xmlns:a16="http://schemas.microsoft.com/office/drawing/2014/main" id="{9E97467A-4CEC-4186-BC21-1D92CD5B7B38}"/>
                </a:ext>
              </a:extLst>
            </p:cNvPr>
            <p:cNvSpPr/>
            <p:nvPr/>
          </p:nvSpPr>
          <p:spPr bwMode="auto">
            <a:xfrm>
              <a:off x="3893230" y="2413510"/>
              <a:ext cx="630234" cy="548913"/>
            </a:xfrm>
            <a:custGeom>
              <a:avLst/>
              <a:gdLst>
                <a:gd name="T0" fmla="*/ 33 w 149"/>
                <a:gd name="T1" fmla="*/ 0 h 130"/>
                <a:gd name="T2" fmla="*/ 2 w 149"/>
                <a:gd name="T3" fmla="*/ 22 h 130"/>
                <a:gd name="T4" fmla="*/ 0 w 149"/>
                <a:gd name="T5" fmla="*/ 22 h 130"/>
                <a:gd name="T6" fmla="*/ 0 w 149"/>
                <a:gd name="T7" fmla="*/ 123 h 130"/>
                <a:gd name="T8" fmla="*/ 7 w 149"/>
                <a:gd name="T9" fmla="*/ 130 h 130"/>
                <a:gd name="T10" fmla="*/ 31 w 149"/>
                <a:gd name="T11" fmla="*/ 130 h 130"/>
                <a:gd name="T12" fmla="*/ 31 w 149"/>
                <a:gd name="T13" fmla="*/ 129 h 130"/>
                <a:gd name="T14" fmla="*/ 32 w 149"/>
                <a:gd name="T15" fmla="*/ 127 h 130"/>
                <a:gd name="T16" fmla="*/ 118 w 149"/>
                <a:gd name="T17" fmla="*/ 127 h 130"/>
                <a:gd name="T18" fmla="*/ 119 w 149"/>
                <a:gd name="T19" fmla="*/ 129 h 130"/>
                <a:gd name="T20" fmla="*/ 119 w 149"/>
                <a:gd name="T21" fmla="*/ 130 h 130"/>
                <a:gd name="T22" fmla="*/ 142 w 149"/>
                <a:gd name="T23" fmla="*/ 130 h 130"/>
                <a:gd name="T24" fmla="*/ 149 w 149"/>
                <a:gd name="T25" fmla="*/ 123 h 130"/>
                <a:gd name="T26" fmla="*/ 149 w 149"/>
                <a:gd name="T27" fmla="*/ 106 h 130"/>
                <a:gd name="T28" fmla="*/ 132 w 149"/>
                <a:gd name="T29" fmla="*/ 98 h 130"/>
                <a:gd name="T30" fmla="*/ 128 w 149"/>
                <a:gd name="T31" fmla="*/ 102 h 130"/>
                <a:gd name="T32" fmla="*/ 122 w 149"/>
                <a:gd name="T33" fmla="*/ 91 h 130"/>
                <a:gd name="T34" fmla="*/ 122 w 149"/>
                <a:gd name="T35" fmla="*/ 91 h 130"/>
                <a:gd name="T36" fmla="*/ 33 w 149"/>
                <a:gd name="T3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9" h="130">
                  <a:moveTo>
                    <a:pt x="33" y="0"/>
                  </a:moveTo>
                  <a:cubicBezTo>
                    <a:pt x="29" y="13"/>
                    <a:pt x="16" y="22"/>
                    <a:pt x="2" y="22"/>
                  </a:cubicBezTo>
                  <a:cubicBezTo>
                    <a:pt x="1" y="22"/>
                    <a:pt x="0" y="22"/>
                    <a:pt x="0" y="22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7"/>
                    <a:pt x="3" y="130"/>
                    <a:pt x="7" y="130"/>
                  </a:cubicBezTo>
                  <a:cubicBezTo>
                    <a:pt x="31" y="130"/>
                    <a:pt x="31" y="130"/>
                    <a:pt x="31" y="130"/>
                  </a:cubicBezTo>
                  <a:cubicBezTo>
                    <a:pt x="31" y="129"/>
                    <a:pt x="31" y="129"/>
                    <a:pt x="31" y="129"/>
                  </a:cubicBezTo>
                  <a:cubicBezTo>
                    <a:pt x="31" y="128"/>
                    <a:pt x="31" y="127"/>
                    <a:pt x="32" y="127"/>
                  </a:cubicBezTo>
                  <a:cubicBezTo>
                    <a:pt x="118" y="127"/>
                    <a:pt x="118" y="127"/>
                    <a:pt x="118" y="127"/>
                  </a:cubicBezTo>
                  <a:cubicBezTo>
                    <a:pt x="119" y="127"/>
                    <a:pt x="119" y="128"/>
                    <a:pt x="119" y="129"/>
                  </a:cubicBezTo>
                  <a:cubicBezTo>
                    <a:pt x="119" y="130"/>
                    <a:pt x="119" y="130"/>
                    <a:pt x="119" y="130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46" y="130"/>
                    <a:pt x="149" y="127"/>
                    <a:pt x="149" y="12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3" y="104"/>
                    <a:pt x="138" y="101"/>
                    <a:pt x="132" y="98"/>
                  </a:cubicBezTo>
                  <a:cubicBezTo>
                    <a:pt x="131" y="100"/>
                    <a:pt x="130" y="102"/>
                    <a:pt x="128" y="102"/>
                  </a:cubicBezTo>
                  <a:cubicBezTo>
                    <a:pt x="125" y="102"/>
                    <a:pt x="122" y="98"/>
                    <a:pt x="122" y="91"/>
                  </a:cubicBezTo>
                  <a:cubicBezTo>
                    <a:pt x="122" y="91"/>
                    <a:pt x="122" y="91"/>
                    <a:pt x="122" y="91"/>
                  </a:cubicBezTo>
                  <a:cubicBezTo>
                    <a:pt x="84" y="66"/>
                    <a:pt x="55" y="33"/>
                    <a:pt x="33" y="0"/>
                  </a:cubicBezTo>
                </a:path>
              </a:pathLst>
            </a:custGeom>
            <a:solidFill>
              <a:srgbClr val="243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8" name="ïŝļídê">
              <a:extLst>
                <a:ext uri="{FF2B5EF4-FFF2-40B4-BE49-F238E27FC236}">
                  <a16:creationId xmlns:a16="http://schemas.microsoft.com/office/drawing/2014/main" id="{DCAA88D4-18B0-4B49-AD6E-958F6D31DAF9}"/>
                </a:ext>
              </a:extLst>
            </p:cNvPr>
            <p:cNvSpPr/>
            <p:nvPr/>
          </p:nvSpPr>
          <p:spPr bwMode="auto">
            <a:xfrm>
              <a:off x="4023343" y="2950226"/>
              <a:ext cx="372042" cy="12198"/>
            </a:xfrm>
            <a:custGeom>
              <a:avLst/>
              <a:gdLst>
                <a:gd name="T0" fmla="*/ 87 w 88"/>
                <a:gd name="T1" fmla="*/ 0 h 3"/>
                <a:gd name="T2" fmla="*/ 1 w 88"/>
                <a:gd name="T3" fmla="*/ 0 h 3"/>
                <a:gd name="T4" fmla="*/ 0 w 88"/>
                <a:gd name="T5" fmla="*/ 2 h 3"/>
                <a:gd name="T6" fmla="*/ 0 w 88"/>
                <a:gd name="T7" fmla="*/ 3 h 3"/>
                <a:gd name="T8" fmla="*/ 88 w 88"/>
                <a:gd name="T9" fmla="*/ 3 h 3"/>
                <a:gd name="T10" fmla="*/ 88 w 88"/>
                <a:gd name="T11" fmla="*/ 2 h 3"/>
                <a:gd name="T12" fmla="*/ 87 w 8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3">
                  <a:moveTo>
                    <a:pt x="87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1"/>
                    <a:pt x="88" y="0"/>
                    <a:pt x="87" y="0"/>
                  </a:cubicBezTo>
                </a:path>
              </a:pathLst>
            </a:cu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9" name="í$liḓê">
              <a:extLst>
                <a:ext uri="{FF2B5EF4-FFF2-40B4-BE49-F238E27FC236}">
                  <a16:creationId xmlns:a16="http://schemas.microsoft.com/office/drawing/2014/main" id="{296814BA-761D-4132-B10A-13CF4A188B6B}"/>
                </a:ext>
              </a:extLst>
            </p:cNvPr>
            <p:cNvSpPr/>
            <p:nvPr/>
          </p:nvSpPr>
          <p:spPr bwMode="auto">
            <a:xfrm>
              <a:off x="3893230" y="2226473"/>
              <a:ext cx="140279" cy="280556"/>
            </a:xfrm>
            <a:custGeom>
              <a:avLst/>
              <a:gdLst>
                <a:gd name="T0" fmla="*/ 2 w 33"/>
                <a:gd name="T1" fmla="*/ 0 h 66"/>
                <a:gd name="T2" fmla="*/ 0 w 33"/>
                <a:gd name="T3" fmla="*/ 0 h 66"/>
                <a:gd name="T4" fmla="*/ 0 w 33"/>
                <a:gd name="T5" fmla="*/ 66 h 66"/>
                <a:gd name="T6" fmla="*/ 2 w 33"/>
                <a:gd name="T7" fmla="*/ 66 h 66"/>
                <a:gd name="T8" fmla="*/ 33 w 33"/>
                <a:gd name="T9" fmla="*/ 44 h 66"/>
                <a:gd name="T10" fmla="*/ 9 w 33"/>
                <a:gd name="T11" fmla="*/ 0 h 66"/>
                <a:gd name="T12" fmla="*/ 2 w 33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66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1" y="66"/>
                    <a:pt x="2" y="66"/>
                  </a:cubicBezTo>
                  <a:cubicBezTo>
                    <a:pt x="16" y="66"/>
                    <a:pt x="29" y="57"/>
                    <a:pt x="33" y="44"/>
                  </a:cubicBezTo>
                  <a:cubicBezTo>
                    <a:pt x="24" y="29"/>
                    <a:pt x="15" y="14"/>
                    <a:pt x="9" y="0"/>
                  </a:cubicBezTo>
                  <a:cubicBezTo>
                    <a:pt x="6" y="0"/>
                    <a:pt x="4" y="0"/>
                    <a:pt x="2" y="0"/>
                  </a:cubicBezTo>
                </a:path>
              </a:pathLst>
            </a:cu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60" name="iṧḷîḑè">
              <a:extLst>
                <a:ext uri="{FF2B5EF4-FFF2-40B4-BE49-F238E27FC236}">
                  <a16:creationId xmlns:a16="http://schemas.microsoft.com/office/drawing/2014/main" id="{A16E4DED-744F-43F1-AB9B-244F1CD493E9}"/>
                </a:ext>
              </a:extLst>
            </p:cNvPr>
            <p:cNvSpPr/>
            <p:nvPr/>
          </p:nvSpPr>
          <p:spPr bwMode="auto">
            <a:xfrm>
              <a:off x="4409616" y="2797750"/>
              <a:ext cx="40660" cy="46760"/>
            </a:xfrm>
            <a:custGeom>
              <a:avLst/>
              <a:gdLst>
                <a:gd name="T0" fmla="*/ 0 w 10"/>
                <a:gd name="T1" fmla="*/ 0 h 11"/>
                <a:gd name="T2" fmla="*/ 0 w 10"/>
                <a:gd name="T3" fmla="*/ 0 h 11"/>
                <a:gd name="T4" fmla="*/ 6 w 10"/>
                <a:gd name="T5" fmla="*/ 11 h 11"/>
                <a:gd name="T6" fmla="*/ 10 w 10"/>
                <a:gd name="T7" fmla="*/ 7 h 11"/>
                <a:gd name="T8" fmla="*/ 0 w 10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3" y="11"/>
                    <a:pt x="6" y="11"/>
                  </a:cubicBezTo>
                  <a:cubicBezTo>
                    <a:pt x="8" y="11"/>
                    <a:pt x="9" y="9"/>
                    <a:pt x="10" y="7"/>
                  </a:cubicBezTo>
                  <a:cubicBezTo>
                    <a:pt x="7" y="5"/>
                    <a:pt x="4" y="2"/>
                    <a:pt x="0" y="0"/>
                  </a:cubicBezTo>
                </a:path>
              </a:pathLst>
            </a:custGeom>
            <a:solidFill>
              <a:srgbClr val="1C3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61" name="íSḷîdê">
              <a:extLst>
                <a:ext uri="{FF2B5EF4-FFF2-40B4-BE49-F238E27FC236}">
                  <a16:creationId xmlns:a16="http://schemas.microsoft.com/office/drawing/2014/main" id="{F223E84D-EA0D-4084-A10D-CAD5542613F1}"/>
                </a:ext>
              </a:extLst>
            </p:cNvPr>
            <p:cNvSpPr/>
            <p:nvPr/>
          </p:nvSpPr>
          <p:spPr bwMode="auto">
            <a:xfrm>
              <a:off x="2545342" y="4430259"/>
              <a:ext cx="4066" cy="16264"/>
            </a:xfrm>
            <a:custGeom>
              <a:avLst/>
              <a:gdLst>
                <a:gd name="T0" fmla="*/ 1 w 1"/>
                <a:gd name="T1" fmla="*/ 0 h 4"/>
                <a:gd name="T2" fmla="*/ 0 w 1"/>
                <a:gd name="T3" fmla="*/ 3 h 4"/>
                <a:gd name="T4" fmla="*/ 1 w 1"/>
                <a:gd name="T5" fmla="*/ 4 h 4"/>
                <a:gd name="T6" fmla="*/ 1 w 1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3"/>
                    <a:pt x="1" y="2"/>
                    <a:pt x="1" y="0"/>
                  </a:cubicBezTo>
                </a:path>
              </a:pathLst>
            </a:custGeom>
            <a:solidFill>
              <a:srgbClr val="BDC0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62" name="íṩḷîḑé">
              <a:extLst>
                <a:ext uri="{FF2B5EF4-FFF2-40B4-BE49-F238E27FC236}">
                  <a16:creationId xmlns:a16="http://schemas.microsoft.com/office/drawing/2014/main" id="{C86ABDB6-9A0A-4CB6-A9A1-016FA08CC7FE}"/>
                </a:ext>
              </a:extLst>
            </p:cNvPr>
            <p:cNvSpPr/>
            <p:nvPr/>
          </p:nvSpPr>
          <p:spPr bwMode="auto">
            <a:xfrm>
              <a:off x="2549408" y="4375368"/>
              <a:ext cx="1762623" cy="152477"/>
            </a:xfrm>
            <a:custGeom>
              <a:avLst/>
              <a:gdLst>
                <a:gd name="T0" fmla="*/ 97 w 417"/>
                <a:gd name="T1" fmla="*/ 0 h 36"/>
                <a:gd name="T2" fmla="*/ 0 w 417"/>
                <a:gd name="T3" fmla="*/ 13 h 36"/>
                <a:gd name="T4" fmla="*/ 0 w 417"/>
                <a:gd name="T5" fmla="*/ 17 h 36"/>
                <a:gd name="T6" fmla="*/ 253 w 417"/>
                <a:gd name="T7" fmla="*/ 36 h 36"/>
                <a:gd name="T8" fmla="*/ 417 w 417"/>
                <a:gd name="T9" fmla="*/ 31 h 36"/>
                <a:gd name="T10" fmla="*/ 413 w 417"/>
                <a:gd name="T11" fmla="*/ 14 h 36"/>
                <a:gd name="T12" fmla="*/ 104 w 417"/>
                <a:gd name="T13" fmla="*/ 14 h 36"/>
                <a:gd name="T14" fmla="*/ 97 w 417"/>
                <a:gd name="T15" fmla="*/ 7 h 36"/>
                <a:gd name="T16" fmla="*/ 97 w 417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7" h="36">
                  <a:moveTo>
                    <a:pt x="97" y="0"/>
                  </a:moveTo>
                  <a:cubicBezTo>
                    <a:pt x="44" y="3"/>
                    <a:pt x="8" y="8"/>
                    <a:pt x="0" y="13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10" y="28"/>
                    <a:pt x="119" y="36"/>
                    <a:pt x="253" y="36"/>
                  </a:cubicBezTo>
                  <a:cubicBezTo>
                    <a:pt x="315" y="36"/>
                    <a:pt x="373" y="34"/>
                    <a:pt x="417" y="31"/>
                  </a:cubicBezTo>
                  <a:cubicBezTo>
                    <a:pt x="415" y="25"/>
                    <a:pt x="414" y="20"/>
                    <a:pt x="413" y="14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0" y="14"/>
                    <a:pt x="97" y="11"/>
                    <a:pt x="97" y="7"/>
                  </a:cubicBezTo>
                  <a:cubicBezTo>
                    <a:pt x="97" y="0"/>
                    <a:pt x="97" y="0"/>
                    <a:pt x="97" y="0"/>
                  </a:cubicBezTo>
                </a:path>
              </a:pathLst>
            </a:custGeom>
            <a:solidFill>
              <a:srgbClr val="B3A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63" name="iŝľiḓè">
              <a:extLst>
                <a:ext uri="{FF2B5EF4-FFF2-40B4-BE49-F238E27FC236}">
                  <a16:creationId xmlns:a16="http://schemas.microsoft.com/office/drawing/2014/main" id="{AB0C8E21-C452-48B0-BBFC-425877DB9828}"/>
                </a:ext>
              </a:extLst>
            </p:cNvPr>
            <p:cNvSpPr/>
            <p:nvPr/>
          </p:nvSpPr>
          <p:spPr bwMode="auto">
            <a:xfrm>
              <a:off x="2960077" y="4359104"/>
              <a:ext cx="1333656" cy="75222"/>
            </a:xfrm>
            <a:custGeom>
              <a:avLst/>
              <a:gdLst>
                <a:gd name="T0" fmla="*/ 156 w 316"/>
                <a:gd name="T1" fmla="*/ 0 h 18"/>
                <a:gd name="T2" fmla="*/ 0 w 316"/>
                <a:gd name="T3" fmla="*/ 4 h 18"/>
                <a:gd name="T4" fmla="*/ 0 w 316"/>
                <a:gd name="T5" fmla="*/ 11 h 18"/>
                <a:gd name="T6" fmla="*/ 7 w 316"/>
                <a:gd name="T7" fmla="*/ 18 h 18"/>
                <a:gd name="T8" fmla="*/ 316 w 316"/>
                <a:gd name="T9" fmla="*/ 18 h 18"/>
                <a:gd name="T10" fmla="*/ 316 w 316"/>
                <a:gd name="T11" fmla="*/ 7 h 18"/>
                <a:gd name="T12" fmla="*/ 316 w 316"/>
                <a:gd name="T13" fmla="*/ 4 h 18"/>
                <a:gd name="T14" fmla="*/ 156 w 316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6" h="18">
                  <a:moveTo>
                    <a:pt x="156" y="0"/>
                  </a:moveTo>
                  <a:cubicBezTo>
                    <a:pt x="97" y="0"/>
                    <a:pt x="43" y="1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"/>
                    <a:pt x="3" y="18"/>
                    <a:pt x="7" y="18"/>
                  </a:cubicBezTo>
                  <a:cubicBezTo>
                    <a:pt x="316" y="18"/>
                    <a:pt x="316" y="18"/>
                    <a:pt x="316" y="18"/>
                  </a:cubicBezTo>
                  <a:cubicBezTo>
                    <a:pt x="316" y="14"/>
                    <a:pt x="316" y="11"/>
                    <a:pt x="316" y="7"/>
                  </a:cubicBezTo>
                  <a:cubicBezTo>
                    <a:pt x="316" y="6"/>
                    <a:pt x="316" y="5"/>
                    <a:pt x="316" y="4"/>
                  </a:cubicBezTo>
                  <a:cubicBezTo>
                    <a:pt x="272" y="1"/>
                    <a:pt x="216" y="0"/>
                    <a:pt x="156" y="0"/>
                  </a:cubicBezTo>
                </a:path>
              </a:pathLst>
            </a:cu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64" name="ïŝľiḍé">
              <a:extLst>
                <a:ext uri="{FF2B5EF4-FFF2-40B4-BE49-F238E27FC236}">
                  <a16:creationId xmlns:a16="http://schemas.microsoft.com/office/drawing/2014/main" id="{0DC4C1F6-2B33-4CEA-83AC-3EA1EEDC879E}"/>
                </a:ext>
              </a:extLst>
            </p:cNvPr>
            <p:cNvSpPr/>
            <p:nvPr/>
          </p:nvSpPr>
          <p:spPr bwMode="auto">
            <a:xfrm>
              <a:off x="3986749" y="4688452"/>
              <a:ext cx="1073431" cy="121981"/>
            </a:xfrm>
            <a:custGeom>
              <a:avLst/>
              <a:gdLst>
                <a:gd name="T0" fmla="*/ 104 w 254"/>
                <a:gd name="T1" fmla="*/ 0 h 29"/>
                <a:gd name="T2" fmla="*/ 0 w 254"/>
                <a:gd name="T3" fmla="*/ 14 h 29"/>
                <a:gd name="T4" fmla="*/ 127 w 254"/>
                <a:gd name="T5" fmla="*/ 29 h 29"/>
                <a:gd name="T6" fmla="*/ 254 w 254"/>
                <a:gd name="T7" fmla="*/ 14 h 29"/>
                <a:gd name="T8" fmla="*/ 226 w 254"/>
                <a:gd name="T9" fmla="*/ 5 h 29"/>
                <a:gd name="T10" fmla="*/ 168 w 254"/>
                <a:gd name="T11" fmla="*/ 24 h 29"/>
                <a:gd name="T12" fmla="*/ 104 w 254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4" h="29">
                  <a:moveTo>
                    <a:pt x="104" y="0"/>
                  </a:moveTo>
                  <a:cubicBezTo>
                    <a:pt x="45" y="1"/>
                    <a:pt x="0" y="7"/>
                    <a:pt x="0" y="14"/>
                  </a:cubicBezTo>
                  <a:cubicBezTo>
                    <a:pt x="0" y="22"/>
                    <a:pt x="57" y="29"/>
                    <a:pt x="127" y="29"/>
                  </a:cubicBezTo>
                  <a:cubicBezTo>
                    <a:pt x="197" y="29"/>
                    <a:pt x="254" y="22"/>
                    <a:pt x="254" y="14"/>
                  </a:cubicBezTo>
                  <a:cubicBezTo>
                    <a:pt x="254" y="11"/>
                    <a:pt x="243" y="8"/>
                    <a:pt x="226" y="5"/>
                  </a:cubicBezTo>
                  <a:cubicBezTo>
                    <a:pt x="210" y="17"/>
                    <a:pt x="190" y="24"/>
                    <a:pt x="168" y="24"/>
                  </a:cubicBezTo>
                  <a:cubicBezTo>
                    <a:pt x="143" y="24"/>
                    <a:pt x="121" y="15"/>
                    <a:pt x="104" y="0"/>
                  </a:cubicBezTo>
                </a:path>
              </a:pathLst>
            </a:custGeom>
            <a:solidFill>
              <a:srgbClr val="B3AE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65" name="íšḷïḍe">
              <a:extLst>
                <a:ext uri="{FF2B5EF4-FFF2-40B4-BE49-F238E27FC236}">
                  <a16:creationId xmlns:a16="http://schemas.microsoft.com/office/drawing/2014/main" id="{D4C4932F-D054-49BE-8864-823688A71407}"/>
                </a:ext>
              </a:extLst>
            </p:cNvPr>
            <p:cNvSpPr/>
            <p:nvPr/>
          </p:nvSpPr>
          <p:spPr bwMode="auto">
            <a:xfrm>
              <a:off x="4293733" y="3592658"/>
              <a:ext cx="803041" cy="1197445"/>
            </a:xfrm>
            <a:custGeom>
              <a:avLst/>
              <a:gdLst>
                <a:gd name="T0" fmla="*/ 116 w 190"/>
                <a:gd name="T1" fmla="*/ 95 h 283"/>
                <a:gd name="T2" fmla="*/ 116 w 190"/>
                <a:gd name="T3" fmla="*/ 21 h 283"/>
                <a:gd name="T4" fmla="*/ 115 w 190"/>
                <a:gd name="T5" fmla="*/ 17 h 283"/>
                <a:gd name="T6" fmla="*/ 125 w 190"/>
                <a:gd name="T7" fmla="*/ 9 h 283"/>
                <a:gd name="T8" fmla="*/ 114 w 190"/>
                <a:gd name="T9" fmla="*/ 0 h 283"/>
                <a:gd name="T10" fmla="*/ 76 w 190"/>
                <a:gd name="T11" fmla="*/ 0 h 283"/>
                <a:gd name="T12" fmla="*/ 65 w 190"/>
                <a:gd name="T13" fmla="*/ 9 h 283"/>
                <a:gd name="T14" fmla="*/ 74 w 190"/>
                <a:gd name="T15" fmla="*/ 17 h 283"/>
                <a:gd name="T16" fmla="*/ 73 w 190"/>
                <a:gd name="T17" fmla="*/ 21 h 283"/>
                <a:gd name="T18" fmla="*/ 73 w 190"/>
                <a:gd name="T19" fmla="*/ 95 h 283"/>
                <a:gd name="T20" fmla="*/ 0 w 190"/>
                <a:gd name="T21" fmla="*/ 188 h 283"/>
                <a:gd name="T22" fmla="*/ 95 w 190"/>
                <a:gd name="T23" fmla="*/ 283 h 283"/>
                <a:gd name="T24" fmla="*/ 190 w 190"/>
                <a:gd name="T25" fmla="*/ 188 h 283"/>
                <a:gd name="T26" fmla="*/ 116 w 190"/>
                <a:gd name="T27" fmla="*/ 95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0" h="283">
                  <a:moveTo>
                    <a:pt x="116" y="95"/>
                  </a:moveTo>
                  <a:cubicBezTo>
                    <a:pt x="116" y="21"/>
                    <a:pt x="116" y="21"/>
                    <a:pt x="116" y="21"/>
                  </a:cubicBezTo>
                  <a:cubicBezTo>
                    <a:pt x="116" y="19"/>
                    <a:pt x="115" y="18"/>
                    <a:pt x="115" y="17"/>
                  </a:cubicBezTo>
                  <a:cubicBezTo>
                    <a:pt x="121" y="17"/>
                    <a:pt x="125" y="13"/>
                    <a:pt x="125" y="9"/>
                  </a:cubicBezTo>
                  <a:cubicBezTo>
                    <a:pt x="125" y="4"/>
                    <a:pt x="120" y="0"/>
                    <a:pt x="114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0" y="0"/>
                    <a:pt x="65" y="4"/>
                    <a:pt x="65" y="9"/>
                  </a:cubicBezTo>
                  <a:cubicBezTo>
                    <a:pt x="65" y="13"/>
                    <a:pt x="69" y="16"/>
                    <a:pt x="74" y="17"/>
                  </a:cubicBezTo>
                  <a:cubicBezTo>
                    <a:pt x="73" y="18"/>
                    <a:pt x="73" y="19"/>
                    <a:pt x="73" y="21"/>
                  </a:cubicBezTo>
                  <a:cubicBezTo>
                    <a:pt x="73" y="95"/>
                    <a:pt x="73" y="95"/>
                    <a:pt x="73" y="95"/>
                  </a:cubicBezTo>
                  <a:cubicBezTo>
                    <a:pt x="31" y="105"/>
                    <a:pt x="0" y="143"/>
                    <a:pt x="0" y="188"/>
                  </a:cubicBezTo>
                  <a:cubicBezTo>
                    <a:pt x="0" y="241"/>
                    <a:pt x="42" y="283"/>
                    <a:pt x="95" y="283"/>
                  </a:cubicBezTo>
                  <a:cubicBezTo>
                    <a:pt x="148" y="283"/>
                    <a:pt x="190" y="241"/>
                    <a:pt x="190" y="188"/>
                  </a:cubicBezTo>
                  <a:cubicBezTo>
                    <a:pt x="190" y="143"/>
                    <a:pt x="158" y="105"/>
                    <a:pt x="116" y="95"/>
                  </a:cubicBezTo>
                </a:path>
              </a:pathLst>
            </a:cu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66" name="išḷíḑé">
              <a:extLst>
                <a:ext uri="{FF2B5EF4-FFF2-40B4-BE49-F238E27FC236}">
                  <a16:creationId xmlns:a16="http://schemas.microsoft.com/office/drawing/2014/main" id="{6A37204E-6F4C-4FD9-AD09-8E0DAEA0BD74}"/>
                </a:ext>
              </a:extLst>
            </p:cNvPr>
            <p:cNvSpPr/>
            <p:nvPr/>
          </p:nvSpPr>
          <p:spPr bwMode="auto">
            <a:xfrm>
              <a:off x="4903637" y="4192397"/>
              <a:ext cx="58958" cy="56924"/>
            </a:xfrm>
            <a:prstGeom prst="ellipse">
              <a:avLst/>
            </a:prstGeom>
            <a:solidFill>
              <a:srgbClr val="DE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67" name="îsḷîdé">
              <a:extLst>
                <a:ext uri="{FF2B5EF4-FFF2-40B4-BE49-F238E27FC236}">
                  <a16:creationId xmlns:a16="http://schemas.microsoft.com/office/drawing/2014/main" id="{23B894CC-5BAB-4E28-87B2-47BCF51B264D}"/>
                </a:ext>
              </a:extLst>
            </p:cNvPr>
            <p:cNvSpPr/>
            <p:nvPr/>
          </p:nvSpPr>
          <p:spPr bwMode="auto">
            <a:xfrm>
              <a:off x="4716600" y="4231024"/>
              <a:ext cx="54892" cy="54892"/>
            </a:xfrm>
            <a:prstGeom prst="ellipse">
              <a:avLst/>
            </a:prstGeom>
            <a:solidFill>
              <a:srgbClr val="DE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68" name="íṧļîďe">
              <a:extLst>
                <a:ext uri="{FF2B5EF4-FFF2-40B4-BE49-F238E27FC236}">
                  <a16:creationId xmlns:a16="http://schemas.microsoft.com/office/drawing/2014/main" id="{256F4B53-5A70-44DC-BFED-FADCA5E94ED4}"/>
                </a:ext>
              </a:extLst>
            </p:cNvPr>
            <p:cNvSpPr/>
            <p:nvPr/>
          </p:nvSpPr>
          <p:spPr bwMode="auto">
            <a:xfrm>
              <a:off x="4767426" y="4104977"/>
              <a:ext cx="54892" cy="54892"/>
            </a:xfrm>
            <a:prstGeom prst="ellipse">
              <a:avLst/>
            </a:prstGeom>
            <a:solidFill>
              <a:srgbClr val="DE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69" name="îšḻíḓê">
              <a:extLst>
                <a:ext uri="{FF2B5EF4-FFF2-40B4-BE49-F238E27FC236}">
                  <a16:creationId xmlns:a16="http://schemas.microsoft.com/office/drawing/2014/main" id="{00182114-F99D-4081-A44A-473916900D1A}"/>
                </a:ext>
              </a:extLst>
            </p:cNvPr>
            <p:cNvSpPr/>
            <p:nvPr/>
          </p:nvSpPr>
          <p:spPr bwMode="auto">
            <a:xfrm>
              <a:off x="4633247" y="4104977"/>
              <a:ext cx="54892" cy="54892"/>
            </a:xfrm>
            <a:prstGeom prst="ellipse">
              <a:avLst/>
            </a:prstGeom>
            <a:solidFill>
              <a:srgbClr val="DEE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70" name="ïsļïḋe">
              <a:extLst>
                <a:ext uri="{FF2B5EF4-FFF2-40B4-BE49-F238E27FC236}">
                  <a16:creationId xmlns:a16="http://schemas.microsoft.com/office/drawing/2014/main" id="{8405E0A3-48D4-47EF-A903-1D243045E1E6}"/>
                </a:ext>
              </a:extLst>
            </p:cNvPr>
            <p:cNvSpPr/>
            <p:nvPr/>
          </p:nvSpPr>
          <p:spPr bwMode="auto">
            <a:xfrm>
              <a:off x="4700336" y="3659748"/>
              <a:ext cx="46760" cy="339514"/>
            </a:xfrm>
            <a:custGeom>
              <a:avLst/>
              <a:gdLst>
                <a:gd name="T0" fmla="*/ 5 w 11"/>
                <a:gd name="T1" fmla="*/ 0 h 80"/>
                <a:gd name="T2" fmla="*/ 0 w 11"/>
                <a:gd name="T3" fmla="*/ 3 h 80"/>
                <a:gd name="T4" fmla="*/ 0 w 11"/>
                <a:gd name="T5" fmla="*/ 77 h 80"/>
                <a:gd name="T6" fmla="*/ 5 w 11"/>
                <a:gd name="T7" fmla="*/ 80 h 80"/>
                <a:gd name="T8" fmla="*/ 11 w 11"/>
                <a:gd name="T9" fmla="*/ 77 h 80"/>
                <a:gd name="T10" fmla="*/ 11 w 11"/>
                <a:gd name="T11" fmla="*/ 3 h 80"/>
                <a:gd name="T12" fmla="*/ 5 w 11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0">
                  <a:moveTo>
                    <a:pt x="5" y="0"/>
                  </a:moveTo>
                  <a:cubicBezTo>
                    <a:pt x="3" y="0"/>
                    <a:pt x="0" y="1"/>
                    <a:pt x="0" y="3"/>
                  </a:cubicBezTo>
                  <a:cubicBezTo>
                    <a:pt x="0" y="28"/>
                    <a:pt x="0" y="52"/>
                    <a:pt x="0" y="77"/>
                  </a:cubicBezTo>
                  <a:cubicBezTo>
                    <a:pt x="0" y="79"/>
                    <a:pt x="3" y="80"/>
                    <a:pt x="5" y="80"/>
                  </a:cubicBezTo>
                  <a:cubicBezTo>
                    <a:pt x="8" y="80"/>
                    <a:pt x="11" y="79"/>
                    <a:pt x="11" y="77"/>
                  </a:cubicBezTo>
                  <a:cubicBezTo>
                    <a:pt x="11" y="52"/>
                    <a:pt x="11" y="28"/>
                    <a:pt x="11" y="3"/>
                  </a:cubicBezTo>
                  <a:cubicBezTo>
                    <a:pt x="11" y="1"/>
                    <a:pt x="8" y="0"/>
                    <a:pt x="5" y="0"/>
                  </a:cubicBezTo>
                </a:path>
              </a:pathLst>
            </a:custGeom>
            <a:solidFill>
              <a:srgbClr val="E7E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71" name="iṩ1îḍé">
              <a:extLst>
                <a:ext uri="{FF2B5EF4-FFF2-40B4-BE49-F238E27FC236}">
                  <a16:creationId xmlns:a16="http://schemas.microsoft.com/office/drawing/2014/main" id="{19C99C8F-2E61-4FFB-B76F-412C080EB197}"/>
                </a:ext>
              </a:extLst>
            </p:cNvPr>
            <p:cNvSpPr/>
            <p:nvPr/>
          </p:nvSpPr>
          <p:spPr bwMode="auto">
            <a:xfrm>
              <a:off x="4293733" y="4332674"/>
              <a:ext cx="803041" cy="457428"/>
            </a:xfrm>
            <a:custGeom>
              <a:avLst/>
              <a:gdLst>
                <a:gd name="T0" fmla="*/ 1 w 190"/>
                <a:gd name="T1" fmla="*/ 0 h 108"/>
                <a:gd name="T2" fmla="*/ 0 w 190"/>
                <a:gd name="T3" fmla="*/ 13 h 108"/>
                <a:gd name="T4" fmla="*/ 95 w 190"/>
                <a:gd name="T5" fmla="*/ 108 h 108"/>
                <a:gd name="T6" fmla="*/ 190 w 190"/>
                <a:gd name="T7" fmla="*/ 13 h 108"/>
                <a:gd name="T8" fmla="*/ 189 w 190"/>
                <a:gd name="T9" fmla="*/ 0 h 108"/>
                <a:gd name="T10" fmla="*/ 1 w 190"/>
                <a:gd name="T1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0" h="108">
                  <a:moveTo>
                    <a:pt x="1" y="0"/>
                  </a:moveTo>
                  <a:cubicBezTo>
                    <a:pt x="0" y="4"/>
                    <a:pt x="0" y="9"/>
                    <a:pt x="0" y="13"/>
                  </a:cubicBezTo>
                  <a:cubicBezTo>
                    <a:pt x="0" y="66"/>
                    <a:pt x="42" y="108"/>
                    <a:pt x="95" y="108"/>
                  </a:cubicBezTo>
                  <a:cubicBezTo>
                    <a:pt x="148" y="108"/>
                    <a:pt x="190" y="66"/>
                    <a:pt x="190" y="13"/>
                  </a:cubicBezTo>
                  <a:cubicBezTo>
                    <a:pt x="190" y="9"/>
                    <a:pt x="190" y="4"/>
                    <a:pt x="189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72" name="ïṧ1îḑé">
              <a:extLst>
                <a:ext uri="{FF2B5EF4-FFF2-40B4-BE49-F238E27FC236}">
                  <a16:creationId xmlns:a16="http://schemas.microsoft.com/office/drawing/2014/main" id="{4080EE14-3D91-4434-833D-72B31CA721F3}"/>
                </a:ext>
              </a:extLst>
            </p:cNvPr>
            <p:cNvSpPr/>
            <p:nvPr/>
          </p:nvSpPr>
          <p:spPr bwMode="auto">
            <a:xfrm>
              <a:off x="4293733" y="4359104"/>
              <a:ext cx="693258" cy="426933"/>
            </a:xfrm>
            <a:custGeom>
              <a:avLst/>
              <a:gdLst>
                <a:gd name="T0" fmla="*/ 0 w 164"/>
                <a:gd name="T1" fmla="*/ 0 h 101"/>
                <a:gd name="T2" fmla="*/ 0 w 164"/>
                <a:gd name="T3" fmla="*/ 6 h 101"/>
                <a:gd name="T4" fmla="*/ 95 w 164"/>
                <a:gd name="T5" fmla="*/ 101 h 101"/>
                <a:gd name="T6" fmla="*/ 164 w 164"/>
                <a:gd name="T7" fmla="*/ 72 h 101"/>
                <a:gd name="T8" fmla="*/ 0 w 164"/>
                <a:gd name="T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01">
                  <a:moveTo>
                    <a:pt x="0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58"/>
                    <a:pt x="42" y="101"/>
                    <a:pt x="95" y="101"/>
                  </a:cubicBezTo>
                  <a:cubicBezTo>
                    <a:pt x="122" y="101"/>
                    <a:pt x="146" y="90"/>
                    <a:pt x="164" y="72"/>
                  </a:cubicBezTo>
                  <a:cubicBezTo>
                    <a:pt x="61" y="57"/>
                    <a:pt x="18" y="25"/>
                    <a:pt x="0" y="0"/>
                  </a:cubicBezTo>
                  <a:close/>
                </a:path>
              </a:pathLst>
            </a:custGeom>
            <a:solidFill>
              <a:srgbClr val="D822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73" name="îśļïďé">
              <a:extLst>
                <a:ext uri="{FF2B5EF4-FFF2-40B4-BE49-F238E27FC236}">
                  <a16:creationId xmlns:a16="http://schemas.microsoft.com/office/drawing/2014/main" id="{DE506EF6-682E-4314-A6BF-F5CD46B39B6E}"/>
                </a:ext>
              </a:extLst>
            </p:cNvPr>
            <p:cNvSpPr/>
            <p:nvPr/>
          </p:nvSpPr>
          <p:spPr bwMode="auto">
            <a:xfrm>
              <a:off x="4895505" y="4383500"/>
              <a:ext cx="54892" cy="58958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74" name="iŝḻîḋé">
              <a:extLst>
                <a:ext uri="{FF2B5EF4-FFF2-40B4-BE49-F238E27FC236}">
                  <a16:creationId xmlns:a16="http://schemas.microsoft.com/office/drawing/2014/main" id="{FDF10E8C-C68D-494A-964A-2A28A251DDE1}"/>
                </a:ext>
              </a:extLst>
            </p:cNvPr>
            <p:cNvSpPr/>
            <p:nvPr/>
          </p:nvSpPr>
          <p:spPr bwMode="auto">
            <a:xfrm>
              <a:off x="4734898" y="4531910"/>
              <a:ext cx="54892" cy="58958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75" name="iṧlïḍè">
              <a:extLst>
                <a:ext uri="{FF2B5EF4-FFF2-40B4-BE49-F238E27FC236}">
                  <a16:creationId xmlns:a16="http://schemas.microsoft.com/office/drawing/2014/main" id="{29A52DEE-68D8-4B44-9B46-2FEC27D8CDE1}"/>
                </a:ext>
              </a:extLst>
            </p:cNvPr>
            <p:cNvSpPr/>
            <p:nvPr/>
          </p:nvSpPr>
          <p:spPr bwMode="auto">
            <a:xfrm>
              <a:off x="4582421" y="4464821"/>
              <a:ext cx="58958" cy="54892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76" name="iṣḻîḑé">
              <a:extLst>
                <a:ext uri="{FF2B5EF4-FFF2-40B4-BE49-F238E27FC236}">
                  <a16:creationId xmlns:a16="http://schemas.microsoft.com/office/drawing/2014/main" id="{EE8694E7-7342-42F3-BCE4-D43B209ED78A}"/>
                </a:ext>
              </a:extLst>
            </p:cNvPr>
            <p:cNvSpPr/>
            <p:nvPr/>
          </p:nvSpPr>
          <p:spPr bwMode="auto">
            <a:xfrm>
              <a:off x="4716600" y="4383500"/>
              <a:ext cx="54892" cy="58958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77" name="îŝľïḓe">
              <a:extLst>
                <a:ext uri="{FF2B5EF4-FFF2-40B4-BE49-F238E27FC236}">
                  <a16:creationId xmlns:a16="http://schemas.microsoft.com/office/drawing/2014/main" id="{0FD675D6-1DEC-47C9-9122-4F2AFD07FF19}"/>
                </a:ext>
              </a:extLst>
            </p:cNvPr>
            <p:cNvSpPr/>
            <p:nvPr/>
          </p:nvSpPr>
          <p:spPr bwMode="auto">
            <a:xfrm>
              <a:off x="4903637" y="4505481"/>
              <a:ext cx="58958" cy="54892"/>
            </a:xfrm>
            <a:prstGeom prst="ellipse">
              <a:avLst/>
            </a:prstGeom>
            <a:solidFill>
              <a:srgbClr val="C0CE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78" name="ïṧľíďè">
              <a:extLst>
                <a:ext uri="{FF2B5EF4-FFF2-40B4-BE49-F238E27FC236}">
                  <a16:creationId xmlns:a16="http://schemas.microsoft.com/office/drawing/2014/main" id="{134F4F04-B8CA-427C-9FAE-7DF5AEB598EB}"/>
                </a:ext>
              </a:extLst>
            </p:cNvPr>
            <p:cNvSpPr/>
            <p:nvPr/>
          </p:nvSpPr>
          <p:spPr bwMode="auto">
            <a:xfrm>
              <a:off x="5887615" y="4519711"/>
              <a:ext cx="451329" cy="455395"/>
            </a:xfrm>
            <a:custGeom>
              <a:avLst/>
              <a:gdLst>
                <a:gd name="T0" fmla="*/ 53 w 107"/>
                <a:gd name="T1" fmla="*/ 108 h 108"/>
                <a:gd name="T2" fmla="*/ 0 w 107"/>
                <a:gd name="T3" fmla="*/ 54 h 108"/>
                <a:gd name="T4" fmla="*/ 53 w 107"/>
                <a:gd name="T5" fmla="*/ 0 h 108"/>
                <a:gd name="T6" fmla="*/ 107 w 107"/>
                <a:gd name="T7" fmla="*/ 54 h 108"/>
                <a:gd name="T8" fmla="*/ 53 w 107"/>
                <a:gd name="T9" fmla="*/ 108 h 108"/>
                <a:gd name="T10" fmla="*/ 53 w 107"/>
                <a:gd name="T11" fmla="*/ 4 h 108"/>
                <a:gd name="T12" fmla="*/ 3 w 107"/>
                <a:gd name="T13" fmla="*/ 54 h 108"/>
                <a:gd name="T14" fmla="*/ 53 w 107"/>
                <a:gd name="T15" fmla="*/ 105 h 108"/>
                <a:gd name="T16" fmla="*/ 104 w 107"/>
                <a:gd name="T17" fmla="*/ 54 h 108"/>
                <a:gd name="T18" fmla="*/ 53 w 107"/>
                <a:gd name="T19" fmla="*/ 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8">
                  <a:moveTo>
                    <a:pt x="53" y="108"/>
                  </a:moveTo>
                  <a:cubicBezTo>
                    <a:pt x="24" y="108"/>
                    <a:pt x="0" y="84"/>
                    <a:pt x="0" y="54"/>
                  </a:cubicBezTo>
                  <a:cubicBezTo>
                    <a:pt x="0" y="25"/>
                    <a:pt x="24" y="0"/>
                    <a:pt x="53" y="0"/>
                  </a:cubicBezTo>
                  <a:cubicBezTo>
                    <a:pt x="83" y="0"/>
                    <a:pt x="107" y="25"/>
                    <a:pt x="107" y="54"/>
                  </a:cubicBezTo>
                  <a:cubicBezTo>
                    <a:pt x="107" y="84"/>
                    <a:pt x="83" y="108"/>
                    <a:pt x="53" y="108"/>
                  </a:cubicBezTo>
                  <a:close/>
                  <a:moveTo>
                    <a:pt x="53" y="4"/>
                  </a:moveTo>
                  <a:cubicBezTo>
                    <a:pt x="25" y="4"/>
                    <a:pt x="3" y="26"/>
                    <a:pt x="3" y="54"/>
                  </a:cubicBezTo>
                  <a:cubicBezTo>
                    <a:pt x="3" y="82"/>
                    <a:pt x="25" y="105"/>
                    <a:pt x="53" y="105"/>
                  </a:cubicBezTo>
                  <a:cubicBezTo>
                    <a:pt x="81" y="105"/>
                    <a:pt x="104" y="82"/>
                    <a:pt x="104" y="54"/>
                  </a:cubicBezTo>
                  <a:cubicBezTo>
                    <a:pt x="104" y="26"/>
                    <a:pt x="81" y="4"/>
                    <a:pt x="53" y="4"/>
                  </a:cubicBezTo>
                  <a:close/>
                </a:path>
              </a:pathLst>
            </a:custGeom>
            <a:solidFill>
              <a:srgbClr val="324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79" name="islïďé">
              <a:extLst>
                <a:ext uri="{FF2B5EF4-FFF2-40B4-BE49-F238E27FC236}">
                  <a16:creationId xmlns:a16="http://schemas.microsoft.com/office/drawing/2014/main" id="{CCF91E29-9BAE-400D-9E2C-4FBF58594FCE}"/>
                </a:ext>
              </a:extLst>
            </p:cNvPr>
            <p:cNvSpPr/>
            <p:nvPr/>
          </p:nvSpPr>
          <p:spPr bwMode="auto">
            <a:xfrm>
              <a:off x="5985200" y="4574603"/>
              <a:ext cx="105717" cy="105717"/>
            </a:xfrm>
            <a:custGeom>
              <a:avLst/>
              <a:gdLst>
                <a:gd name="T0" fmla="*/ 13 w 25"/>
                <a:gd name="T1" fmla="*/ 25 h 25"/>
                <a:gd name="T2" fmla="*/ 0 w 25"/>
                <a:gd name="T3" fmla="*/ 13 h 25"/>
                <a:gd name="T4" fmla="*/ 13 w 25"/>
                <a:gd name="T5" fmla="*/ 0 h 25"/>
                <a:gd name="T6" fmla="*/ 25 w 25"/>
                <a:gd name="T7" fmla="*/ 13 h 25"/>
                <a:gd name="T8" fmla="*/ 13 w 25"/>
                <a:gd name="T9" fmla="*/ 25 h 25"/>
                <a:gd name="T10" fmla="*/ 13 w 25"/>
                <a:gd name="T11" fmla="*/ 4 h 25"/>
                <a:gd name="T12" fmla="*/ 3 w 25"/>
                <a:gd name="T13" fmla="*/ 13 h 25"/>
                <a:gd name="T14" fmla="*/ 13 w 25"/>
                <a:gd name="T15" fmla="*/ 22 h 25"/>
                <a:gd name="T16" fmla="*/ 22 w 25"/>
                <a:gd name="T17" fmla="*/ 13 h 25"/>
                <a:gd name="T18" fmla="*/ 13 w 25"/>
                <a:gd name="T19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13" y="25"/>
                  </a:moveTo>
                  <a:cubicBezTo>
                    <a:pt x="6" y="25"/>
                    <a:pt x="0" y="19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9" y="0"/>
                    <a:pt x="25" y="6"/>
                    <a:pt x="25" y="13"/>
                  </a:cubicBezTo>
                  <a:cubicBezTo>
                    <a:pt x="25" y="19"/>
                    <a:pt x="19" y="25"/>
                    <a:pt x="13" y="25"/>
                  </a:cubicBezTo>
                  <a:close/>
                  <a:moveTo>
                    <a:pt x="13" y="4"/>
                  </a:moveTo>
                  <a:cubicBezTo>
                    <a:pt x="8" y="4"/>
                    <a:pt x="3" y="8"/>
                    <a:pt x="3" y="13"/>
                  </a:cubicBezTo>
                  <a:cubicBezTo>
                    <a:pt x="3" y="18"/>
                    <a:pt x="8" y="22"/>
                    <a:pt x="13" y="22"/>
                  </a:cubicBezTo>
                  <a:cubicBezTo>
                    <a:pt x="18" y="22"/>
                    <a:pt x="22" y="18"/>
                    <a:pt x="22" y="13"/>
                  </a:cubicBezTo>
                  <a:cubicBezTo>
                    <a:pt x="22" y="8"/>
                    <a:pt x="18" y="4"/>
                    <a:pt x="13" y="4"/>
                  </a:cubicBez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80" name="íṡlíḍé">
              <a:extLst>
                <a:ext uri="{FF2B5EF4-FFF2-40B4-BE49-F238E27FC236}">
                  <a16:creationId xmlns:a16="http://schemas.microsoft.com/office/drawing/2014/main" id="{AD13171E-3C76-4030-9ABB-AE8B23C17A5E}"/>
                </a:ext>
              </a:extLst>
            </p:cNvPr>
            <p:cNvSpPr/>
            <p:nvPr/>
          </p:nvSpPr>
          <p:spPr bwMode="auto">
            <a:xfrm>
              <a:off x="6182403" y="4641692"/>
              <a:ext cx="93519" cy="97585"/>
            </a:xfrm>
            <a:prstGeom prst="ellipse">
              <a:avLst/>
            </a:pr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81" name="íşľîḓê">
              <a:extLst>
                <a:ext uri="{FF2B5EF4-FFF2-40B4-BE49-F238E27FC236}">
                  <a16:creationId xmlns:a16="http://schemas.microsoft.com/office/drawing/2014/main" id="{7E4E8947-6251-4CC6-A067-765786B14A3C}"/>
                </a:ext>
              </a:extLst>
            </p:cNvPr>
            <p:cNvSpPr/>
            <p:nvPr/>
          </p:nvSpPr>
          <p:spPr bwMode="auto">
            <a:xfrm>
              <a:off x="6072620" y="4712848"/>
              <a:ext cx="77254" cy="77254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3 w 18"/>
                <a:gd name="T13" fmla="*/ 9 h 18"/>
                <a:gd name="T14" fmla="*/ 9 w 18"/>
                <a:gd name="T15" fmla="*/ 15 h 18"/>
                <a:gd name="T16" fmla="*/ 15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6" y="3"/>
                    <a:pt x="3" y="6"/>
                    <a:pt x="3" y="9"/>
                  </a:cubicBezTo>
                  <a:cubicBezTo>
                    <a:pt x="3" y="12"/>
                    <a:pt x="6" y="15"/>
                    <a:pt x="9" y="15"/>
                  </a:cubicBezTo>
                  <a:cubicBezTo>
                    <a:pt x="12" y="15"/>
                    <a:pt x="15" y="12"/>
                    <a:pt x="15" y="9"/>
                  </a:cubicBezTo>
                  <a:cubicBezTo>
                    <a:pt x="15" y="6"/>
                    <a:pt x="12" y="3"/>
                    <a:pt x="9" y="3"/>
                  </a:cubicBezTo>
                  <a:close/>
                </a:path>
              </a:pathLst>
            </a:custGeom>
            <a:solidFill>
              <a:srgbClr val="324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82" name="ïSḷïḋe">
              <a:extLst>
                <a:ext uri="{FF2B5EF4-FFF2-40B4-BE49-F238E27FC236}">
                  <a16:creationId xmlns:a16="http://schemas.microsoft.com/office/drawing/2014/main" id="{A14F0209-1934-4EB7-8820-4AD344974055}"/>
                </a:ext>
              </a:extLst>
            </p:cNvPr>
            <p:cNvSpPr/>
            <p:nvPr/>
          </p:nvSpPr>
          <p:spPr bwMode="auto">
            <a:xfrm>
              <a:off x="5966903" y="4814499"/>
              <a:ext cx="73188" cy="73188"/>
            </a:xfrm>
            <a:prstGeom prst="ellipse">
              <a:avLst/>
            </a:pr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83" name="ísḻîďé">
              <a:extLst>
                <a:ext uri="{FF2B5EF4-FFF2-40B4-BE49-F238E27FC236}">
                  <a16:creationId xmlns:a16="http://schemas.microsoft.com/office/drawing/2014/main" id="{955107DE-0B3F-4729-8EA4-8E94EC445A34}"/>
                </a:ext>
              </a:extLst>
            </p:cNvPr>
            <p:cNvSpPr/>
            <p:nvPr/>
          </p:nvSpPr>
          <p:spPr bwMode="auto">
            <a:xfrm>
              <a:off x="5916077" y="4696584"/>
              <a:ext cx="54892" cy="58958"/>
            </a:xfrm>
            <a:prstGeom prst="ellipse">
              <a:avLst/>
            </a:prstGeom>
            <a:solidFill>
              <a:srgbClr val="324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84" name="išḻïḑè">
              <a:extLst>
                <a:ext uri="{FF2B5EF4-FFF2-40B4-BE49-F238E27FC236}">
                  <a16:creationId xmlns:a16="http://schemas.microsoft.com/office/drawing/2014/main" id="{7010E61A-66DB-4EBC-BCBE-8825C4ADE21F}"/>
                </a:ext>
              </a:extLst>
            </p:cNvPr>
            <p:cNvSpPr/>
            <p:nvPr/>
          </p:nvSpPr>
          <p:spPr bwMode="auto">
            <a:xfrm>
              <a:off x="6119379" y="4564438"/>
              <a:ext cx="50826" cy="50826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3 h 12"/>
                <a:gd name="T12" fmla="*/ 3 w 12"/>
                <a:gd name="T13" fmla="*/ 6 h 12"/>
                <a:gd name="T14" fmla="*/ 6 w 12"/>
                <a:gd name="T15" fmla="*/ 9 h 12"/>
                <a:gd name="T16" fmla="*/ 8 w 12"/>
                <a:gd name="T17" fmla="*/ 6 h 12"/>
                <a:gd name="T18" fmla="*/ 6 w 12"/>
                <a:gd name="T1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3"/>
                  </a:moveTo>
                  <a:cubicBezTo>
                    <a:pt x="4" y="3"/>
                    <a:pt x="3" y="4"/>
                    <a:pt x="3" y="6"/>
                  </a:cubicBezTo>
                  <a:cubicBezTo>
                    <a:pt x="3" y="7"/>
                    <a:pt x="4" y="9"/>
                    <a:pt x="6" y="9"/>
                  </a:cubicBezTo>
                  <a:cubicBezTo>
                    <a:pt x="7" y="9"/>
                    <a:pt x="8" y="7"/>
                    <a:pt x="8" y="6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324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85" name="í$ḷíḋe">
              <a:extLst>
                <a:ext uri="{FF2B5EF4-FFF2-40B4-BE49-F238E27FC236}">
                  <a16:creationId xmlns:a16="http://schemas.microsoft.com/office/drawing/2014/main" id="{26CCC67E-07E7-43F5-8C88-506B779F3046}"/>
                </a:ext>
              </a:extLst>
            </p:cNvPr>
            <p:cNvSpPr/>
            <p:nvPr/>
          </p:nvSpPr>
          <p:spPr bwMode="auto">
            <a:xfrm>
              <a:off x="6237293" y="4794169"/>
              <a:ext cx="38628" cy="42694"/>
            </a:xfrm>
            <a:prstGeom prst="ellipse">
              <a:avLst/>
            </a:prstGeom>
            <a:solidFill>
              <a:srgbClr val="324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86" name="íslïḍê">
              <a:extLst>
                <a:ext uri="{FF2B5EF4-FFF2-40B4-BE49-F238E27FC236}">
                  <a16:creationId xmlns:a16="http://schemas.microsoft.com/office/drawing/2014/main" id="{75330B25-C40E-4513-BD37-C8CC053637C8}"/>
                </a:ext>
              </a:extLst>
            </p:cNvPr>
            <p:cNvSpPr/>
            <p:nvPr/>
          </p:nvSpPr>
          <p:spPr bwMode="auto">
            <a:xfrm>
              <a:off x="6127511" y="4794169"/>
              <a:ext cx="69122" cy="63024"/>
            </a:xfrm>
            <a:custGeom>
              <a:avLst/>
              <a:gdLst>
                <a:gd name="T0" fmla="*/ 8 w 16"/>
                <a:gd name="T1" fmla="*/ 15 h 15"/>
                <a:gd name="T2" fmla="*/ 0 w 16"/>
                <a:gd name="T3" fmla="*/ 7 h 15"/>
                <a:gd name="T4" fmla="*/ 8 w 16"/>
                <a:gd name="T5" fmla="*/ 0 h 15"/>
                <a:gd name="T6" fmla="*/ 16 w 16"/>
                <a:gd name="T7" fmla="*/ 7 h 15"/>
                <a:gd name="T8" fmla="*/ 8 w 16"/>
                <a:gd name="T9" fmla="*/ 15 h 15"/>
                <a:gd name="T10" fmla="*/ 8 w 16"/>
                <a:gd name="T11" fmla="*/ 3 h 15"/>
                <a:gd name="T12" fmla="*/ 4 w 16"/>
                <a:gd name="T13" fmla="*/ 7 h 15"/>
                <a:gd name="T14" fmla="*/ 8 w 16"/>
                <a:gd name="T15" fmla="*/ 12 h 15"/>
                <a:gd name="T16" fmla="*/ 12 w 16"/>
                <a:gd name="T17" fmla="*/ 7 h 15"/>
                <a:gd name="T18" fmla="*/ 8 w 16"/>
                <a:gd name="T1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5">
                  <a:moveTo>
                    <a:pt x="8" y="15"/>
                  </a:moveTo>
                  <a:cubicBezTo>
                    <a:pt x="4" y="15"/>
                    <a:pt x="0" y="11"/>
                    <a:pt x="0" y="7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12" y="0"/>
                    <a:pt x="16" y="3"/>
                    <a:pt x="16" y="7"/>
                  </a:cubicBezTo>
                  <a:cubicBezTo>
                    <a:pt x="16" y="11"/>
                    <a:pt x="12" y="15"/>
                    <a:pt x="8" y="15"/>
                  </a:cubicBezTo>
                  <a:close/>
                  <a:moveTo>
                    <a:pt x="8" y="3"/>
                  </a:moveTo>
                  <a:cubicBezTo>
                    <a:pt x="6" y="3"/>
                    <a:pt x="4" y="5"/>
                    <a:pt x="4" y="7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7"/>
                  </a:cubicBezTo>
                  <a:cubicBezTo>
                    <a:pt x="12" y="5"/>
                    <a:pt x="10" y="3"/>
                    <a:pt x="8" y="3"/>
                  </a:cubicBez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87" name="î$1íḍê">
              <a:extLst>
                <a:ext uri="{FF2B5EF4-FFF2-40B4-BE49-F238E27FC236}">
                  <a16:creationId xmlns:a16="http://schemas.microsoft.com/office/drawing/2014/main" id="{28272061-1D24-4071-8B45-D9EE4BFC13A6}"/>
                </a:ext>
              </a:extLst>
            </p:cNvPr>
            <p:cNvSpPr/>
            <p:nvPr/>
          </p:nvSpPr>
          <p:spPr bwMode="auto">
            <a:xfrm>
              <a:off x="6064488" y="4887687"/>
              <a:ext cx="38628" cy="36594"/>
            </a:xfrm>
            <a:custGeom>
              <a:avLst/>
              <a:gdLst>
                <a:gd name="T0" fmla="*/ 4 w 9"/>
                <a:gd name="T1" fmla="*/ 9 h 9"/>
                <a:gd name="T2" fmla="*/ 0 w 9"/>
                <a:gd name="T3" fmla="*/ 5 h 9"/>
                <a:gd name="T4" fmla="*/ 4 w 9"/>
                <a:gd name="T5" fmla="*/ 0 h 9"/>
                <a:gd name="T6" fmla="*/ 9 w 9"/>
                <a:gd name="T7" fmla="*/ 5 h 9"/>
                <a:gd name="T8" fmla="*/ 4 w 9"/>
                <a:gd name="T9" fmla="*/ 9 h 9"/>
                <a:gd name="T10" fmla="*/ 4 w 9"/>
                <a:gd name="T11" fmla="*/ 3 h 9"/>
                <a:gd name="T12" fmla="*/ 3 w 9"/>
                <a:gd name="T13" fmla="*/ 5 h 9"/>
                <a:gd name="T14" fmla="*/ 4 w 9"/>
                <a:gd name="T15" fmla="*/ 6 h 9"/>
                <a:gd name="T16" fmla="*/ 5 w 9"/>
                <a:gd name="T17" fmla="*/ 5 h 9"/>
                <a:gd name="T18" fmla="*/ 4 w 9"/>
                <a:gd name="T1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  <a:close/>
                  <a:moveTo>
                    <a:pt x="4" y="3"/>
                  </a:moveTo>
                  <a:cubicBezTo>
                    <a:pt x="4" y="3"/>
                    <a:pt x="3" y="4"/>
                    <a:pt x="3" y="5"/>
                  </a:cubicBezTo>
                  <a:cubicBezTo>
                    <a:pt x="3" y="5"/>
                    <a:pt x="4" y="6"/>
                    <a:pt x="4" y="6"/>
                  </a:cubicBezTo>
                  <a:cubicBezTo>
                    <a:pt x="5" y="6"/>
                    <a:pt x="5" y="5"/>
                    <a:pt x="5" y="5"/>
                  </a:cubicBezTo>
                  <a:cubicBezTo>
                    <a:pt x="5" y="4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324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88" name="î$ḻïḑê">
              <a:extLst>
                <a:ext uri="{FF2B5EF4-FFF2-40B4-BE49-F238E27FC236}">
                  <a16:creationId xmlns:a16="http://schemas.microsoft.com/office/drawing/2014/main" id="{B0781F9C-2A37-4818-9ACA-A48C4BB31932}"/>
                </a:ext>
              </a:extLst>
            </p:cNvPr>
            <p:cNvSpPr/>
            <p:nvPr/>
          </p:nvSpPr>
          <p:spPr bwMode="auto">
            <a:xfrm>
              <a:off x="6013662" y="4708782"/>
              <a:ext cx="46760" cy="46760"/>
            </a:xfrm>
            <a:custGeom>
              <a:avLst/>
              <a:gdLst>
                <a:gd name="T0" fmla="*/ 6 w 11"/>
                <a:gd name="T1" fmla="*/ 11 h 11"/>
                <a:gd name="T2" fmla="*/ 0 w 11"/>
                <a:gd name="T3" fmla="*/ 5 h 11"/>
                <a:gd name="T4" fmla="*/ 6 w 11"/>
                <a:gd name="T5" fmla="*/ 0 h 11"/>
                <a:gd name="T6" fmla="*/ 11 w 11"/>
                <a:gd name="T7" fmla="*/ 5 h 11"/>
                <a:gd name="T8" fmla="*/ 6 w 11"/>
                <a:gd name="T9" fmla="*/ 11 h 11"/>
                <a:gd name="T10" fmla="*/ 6 w 11"/>
                <a:gd name="T11" fmla="*/ 3 h 11"/>
                <a:gd name="T12" fmla="*/ 3 w 11"/>
                <a:gd name="T13" fmla="*/ 5 h 11"/>
                <a:gd name="T14" fmla="*/ 6 w 11"/>
                <a:gd name="T15" fmla="*/ 7 h 11"/>
                <a:gd name="T16" fmla="*/ 8 w 11"/>
                <a:gd name="T17" fmla="*/ 5 h 11"/>
                <a:gd name="T18" fmla="*/ 6 w 11"/>
                <a:gd name="T1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8"/>
                    <a:pt x="8" y="11"/>
                    <a:pt x="6" y="11"/>
                  </a:cubicBezTo>
                  <a:close/>
                  <a:moveTo>
                    <a:pt x="6" y="3"/>
                  </a:moveTo>
                  <a:cubicBezTo>
                    <a:pt x="4" y="3"/>
                    <a:pt x="3" y="4"/>
                    <a:pt x="3" y="5"/>
                  </a:cubicBezTo>
                  <a:cubicBezTo>
                    <a:pt x="3" y="7"/>
                    <a:pt x="4" y="7"/>
                    <a:pt x="6" y="7"/>
                  </a:cubicBezTo>
                  <a:cubicBezTo>
                    <a:pt x="7" y="7"/>
                    <a:pt x="8" y="7"/>
                    <a:pt x="8" y="5"/>
                  </a:cubicBezTo>
                  <a:cubicBezTo>
                    <a:pt x="8" y="4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324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89" name="îṥļîḋè">
              <a:extLst>
                <a:ext uri="{FF2B5EF4-FFF2-40B4-BE49-F238E27FC236}">
                  <a16:creationId xmlns:a16="http://schemas.microsoft.com/office/drawing/2014/main" id="{72310720-10A0-4370-A8DA-4E73A89B0D97}"/>
                </a:ext>
              </a:extLst>
            </p:cNvPr>
            <p:cNvSpPr/>
            <p:nvPr/>
          </p:nvSpPr>
          <p:spPr bwMode="auto">
            <a:xfrm>
              <a:off x="6178337" y="4869390"/>
              <a:ext cx="46760" cy="46760"/>
            </a:xfrm>
            <a:custGeom>
              <a:avLst/>
              <a:gdLst>
                <a:gd name="T0" fmla="*/ 6 w 11"/>
                <a:gd name="T1" fmla="*/ 11 h 11"/>
                <a:gd name="T2" fmla="*/ 0 w 11"/>
                <a:gd name="T3" fmla="*/ 6 h 11"/>
                <a:gd name="T4" fmla="*/ 6 w 11"/>
                <a:gd name="T5" fmla="*/ 0 h 11"/>
                <a:gd name="T6" fmla="*/ 11 w 11"/>
                <a:gd name="T7" fmla="*/ 6 h 11"/>
                <a:gd name="T8" fmla="*/ 6 w 11"/>
                <a:gd name="T9" fmla="*/ 11 h 11"/>
                <a:gd name="T10" fmla="*/ 6 w 11"/>
                <a:gd name="T11" fmla="*/ 4 h 11"/>
                <a:gd name="T12" fmla="*/ 4 w 11"/>
                <a:gd name="T13" fmla="*/ 6 h 11"/>
                <a:gd name="T14" fmla="*/ 6 w 11"/>
                <a:gd name="T15" fmla="*/ 8 h 11"/>
                <a:gd name="T16" fmla="*/ 8 w 11"/>
                <a:gd name="T17" fmla="*/ 6 h 11"/>
                <a:gd name="T18" fmla="*/ 6 w 11"/>
                <a:gd name="T1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solidFill>
              <a:srgbClr val="324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90" name="îŝliḍé">
              <a:extLst>
                <a:ext uri="{FF2B5EF4-FFF2-40B4-BE49-F238E27FC236}">
                  <a16:creationId xmlns:a16="http://schemas.microsoft.com/office/drawing/2014/main" id="{5EF2025F-8E5F-48EF-BB25-08AE1A055D5B}"/>
                </a:ext>
              </a:extLst>
            </p:cNvPr>
            <p:cNvSpPr/>
            <p:nvPr/>
          </p:nvSpPr>
          <p:spPr bwMode="auto">
            <a:xfrm>
              <a:off x="6192567" y="1547447"/>
              <a:ext cx="756281" cy="662762"/>
            </a:xfrm>
            <a:custGeom>
              <a:avLst/>
              <a:gdLst>
                <a:gd name="T0" fmla="*/ 128 w 179"/>
                <a:gd name="T1" fmla="*/ 60 h 157"/>
                <a:gd name="T2" fmla="*/ 135 w 179"/>
                <a:gd name="T3" fmla="*/ 4 h 157"/>
                <a:gd name="T4" fmla="*/ 87 w 179"/>
                <a:gd name="T5" fmla="*/ 34 h 157"/>
                <a:gd name="T6" fmla="*/ 39 w 179"/>
                <a:gd name="T7" fmla="*/ 4 h 157"/>
                <a:gd name="T8" fmla="*/ 46 w 179"/>
                <a:gd name="T9" fmla="*/ 61 h 157"/>
                <a:gd name="T10" fmla="*/ 43 w 179"/>
                <a:gd name="T11" fmla="*/ 107 h 157"/>
                <a:gd name="T12" fmla="*/ 39 w 179"/>
                <a:gd name="T13" fmla="*/ 156 h 157"/>
                <a:gd name="T14" fmla="*/ 70 w 179"/>
                <a:gd name="T15" fmla="*/ 143 h 157"/>
                <a:gd name="T16" fmla="*/ 104 w 179"/>
                <a:gd name="T17" fmla="*/ 143 h 157"/>
                <a:gd name="T18" fmla="*/ 135 w 179"/>
                <a:gd name="T19" fmla="*/ 156 h 157"/>
                <a:gd name="T20" fmla="*/ 132 w 179"/>
                <a:gd name="T21" fmla="*/ 108 h 157"/>
                <a:gd name="T22" fmla="*/ 107 w 179"/>
                <a:gd name="T23" fmla="*/ 20 h 157"/>
                <a:gd name="T24" fmla="*/ 132 w 179"/>
                <a:gd name="T25" fmla="*/ 8 h 157"/>
                <a:gd name="T26" fmla="*/ 124 w 179"/>
                <a:gd name="T27" fmla="*/ 59 h 157"/>
                <a:gd name="T28" fmla="*/ 90 w 179"/>
                <a:gd name="T29" fmla="*/ 38 h 157"/>
                <a:gd name="T30" fmla="*/ 106 w 179"/>
                <a:gd name="T31" fmla="*/ 92 h 157"/>
                <a:gd name="T32" fmla="*/ 90 w 179"/>
                <a:gd name="T33" fmla="*/ 107 h 157"/>
                <a:gd name="T34" fmla="*/ 68 w 179"/>
                <a:gd name="T35" fmla="*/ 92 h 157"/>
                <a:gd name="T36" fmla="*/ 68 w 179"/>
                <a:gd name="T37" fmla="*/ 68 h 157"/>
                <a:gd name="T38" fmla="*/ 90 w 179"/>
                <a:gd name="T39" fmla="*/ 62 h 157"/>
                <a:gd name="T40" fmla="*/ 106 w 179"/>
                <a:gd name="T41" fmla="*/ 68 h 157"/>
                <a:gd name="T42" fmla="*/ 106 w 179"/>
                <a:gd name="T43" fmla="*/ 92 h 157"/>
                <a:gd name="T44" fmla="*/ 126 w 179"/>
                <a:gd name="T45" fmla="*/ 105 h 157"/>
                <a:gd name="T46" fmla="*/ 110 w 179"/>
                <a:gd name="T47" fmla="*/ 94 h 157"/>
                <a:gd name="T48" fmla="*/ 93 w 179"/>
                <a:gd name="T49" fmla="*/ 111 h 157"/>
                <a:gd name="T50" fmla="*/ 81 w 179"/>
                <a:gd name="T51" fmla="*/ 111 h 157"/>
                <a:gd name="T52" fmla="*/ 93 w 179"/>
                <a:gd name="T53" fmla="*/ 111 h 157"/>
                <a:gd name="T54" fmla="*/ 49 w 179"/>
                <a:gd name="T55" fmla="*/ 104 h 157"/>
                <a:gd name="T56" fmla="*/ 64 w 179"/>
                <a:gd name="T57" fmla="*/ 94 h 157"/>
                <a:gd name="T58" fmla="*/ 59 w 179"/>
                <a:gd name="T59" fmla="*/ 75 h 157"/>
                <a:gd name="T60" fmla="*/ 66 w 179"/>
                <a:gd name="T61" fmla="*/ 63 h 157"/>
                <a:gd name="T62" fmla="*/ 59 w 179"/>
                <a:gd name="T63" fmla="*/ 75 h 157"/>
                <a:gd name="T64" fmla="*/ 87 w 179"/>
                <a:gd name="T65" fmla="*/ 41 h 157"/>
                <a:gd name="T66" fmla="*/ 90 w 179"/>
                <a:gd name="T67" fmla="*/ 58 h 157"/>
                <a:gd name="T68" fmla="*/ 110 w 179"/>
                <a:gd name="T69" fmla="*/ 66 h 157"/>
                <a:gd name="T70" fmla="*/ 122 w 179"/>
                <a:gd name="T71" fmla="*/ 64 h 157"/>
                <a:gd name="T72" fmla="*/ 110 w 179"/>
                <a:gd name="T73" fmla="*/ 66 h 157"/>
                <a:gd name="T74" fmla="*/ 42 w 179"/>
                <a:gd name="T75" fmla="*/ 8 h 157"/>
                <a:gd name="T76" fmla="*/ 67 w 179"/>
                <a:gd name="T77" fmla="*/ 20 h 157"/>
                <a:gd name="T78" fmla="*/ 69 w 179"/>
                <a:gd name="T79" fmla="*/ 58 h 157"/>
                <a:gd name="T80" fmla="*/ 42 w 179"/>
                <a:gd name="T81" fmla="*/ 36 h 157"/>
                <a:gd name="T82" fmla="*/ 48 w 179"/>
                <a:gd name="T83" fmla="*/ 65 h 157"/>
                <a:gd name="T84" fmla="*/ 45 w 179"/>
                <a:gd name="T85" fmla="*/ 103 h 157"/>
                <a:gd name="T86" fmla="*/ 67 w 179"/>
                <a:gd name="T87" fmla="*/ 140 h 157"/>
                <a:gd name="T88" fmla="*/ 42 w 179"/>
                <a:gd name="T89" fmla="*/ 124 h 157"/>
                <a:gd name="T90" fmla="*/ 76 w 179"/>
                <a:gd name="T91" fmla="*/ 111 h 157"/>
                <a:gd name="T92" fmla="*/ 67 w 179"/>
                <a:gd name="T93" fmla="*/ 140 h 157"/>
                <a:gd name="T94" fmla="*/ 132 w 179"/>
                <a:gd name="T95" fmla="*/ 152 h 157"/>
                <a:gd name="T96" fmla="*/ 90 w 179"/>
                <a:gd name="T97" fmla="*/ 122 h 157"/>
                <a:gd name="T98" fmla="*/ 127 w 179"/>
                <a:gd name="T99" fmla="*/ 109 h 157"/>
                <a:gd name="T100" fmla="*/ 130 w 179"/>
                <a:gd name="T101" fmla="*/ 104 h 157"/>
                <a:gd name="T102" fmla="*/ 126 w 179"/>
                <a:gd name="T103" fmla="*/ 64 h 157"/>
                <a:gd name="T104" fmla="*/ 130 w 179"/>
                <a:gd name="T105" fmla="*/ 10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9" h="157">
                  <a:moveTo>
                    <a:pt x="179" y="84"/>
                  </a:moveTo>
                  <a:cubicBezTo>
                    <a:pt x="179" y="72"/>
                    <a:pt x="157" y="64"/>
                    <a:pt x="128" y="60"/>
                  </a:cubicBezTo>
                  <a:cubicBezTo>
                    <a:pt x="132" y="52"/>
                    <a:pt x="135" y="45"/>
                    <a:pt x="137" y="38"/>
                  </a:cubicBezTo>
                  <a:cubicBezTo>
                    <a:pt x="142" y="20"/>
                    <a:pt x="141" y="8"/>
                    <a:pt x="135" y="4"/>
                  </a:cubicBezTo>
                  <a:cubicBezTo>
                    <a:pt x="128" y="0"/>
                    <a:pt x="118" y="4"/>
                    <a:pt x="104" y="17"/>
                  </a:cubicBezTo>
                  <a:cubicBezTo>
                    <a:pt x="98" y="22"/>
                    <a:pt x="93" y="28"/>
                    <a:pt x="87" y="34"/>
                  </a:cubicBezTo>
                  <a:cubicBezTo>
                    <a:pt x="82" y="28"/>
                    <a:pt x="76" y="22"/>
                    <a:pt x="70" y="17"/>
                  </a:cubicBezTo>
                  <a:cubicBezTo>
                    <a:pt x="57" y="4"/>
                    <a:pt x="46" y="0"/>
                    <a:pt x="39" y="4"/>
                  </a:cubicBezTo>
                  <a:cubicBezTo>
                    <a:pt x="33" y="8"/>
                    <a:pt x="32" y="20"/>
                    <a:pt x="37" y="38"/>
                  </a:cubicBezTo>
                  <a:cubicBezTo>
                    <a:pt x="40" y="45"/>
                    <a:pt x="43" y="53"/>
                    <a:pt x="46" y="61"/>
                  </a:cubicBezTo>
                  <a:cubicBezTo>
                    <a:pt x="20" y="65"/>
                    <a:pt x="0" y="73"/>
                    <a:pt x="0" y="84"/>
                  </a:cubicBezTo>
                  <a:cubicBezTo>
                    <a:pt x="0" y="95"/>
                    <a:pt x="19" y="103"/>
                    <a:pt x="43" y="107"/>
                  </a:cubicBezTo>
                  <a:cubicBezTo>
                    <a:pt x="41" y="113"/>
                    <a:pt x="39" y="118"/>
                    <a:pt x="37" y="122"/>
                  </a:cubicBezTo>
                  <a:cubicBezTo>
                    <a:pt x="32" y="140"/>
                    <a:pt x="33" y="152"/>
                    <a:pt x="39" y="156"/>
                  </a:cubicBezTo>
                  <a:cubicBezTo>
                    <a:pt x="41" y="157"/>
                    <a:pt x="43" y="157"/>
                    <a:pt x="45" y="157"/>
                  </a:cubicBezTo>
                  <a:cubicBezTo>
                    <a:pt x="51" y="157"/>
                    <a:pt x="60" y="152"/>
                    <a:pt x="70" y="143"/>
                  </a:cubicBezTo>
                  <a:cubicBezTo>
                    <a:pt x="76" y="138"/>
                    <a:pt x="82" y="132"/>
                    <a:pt x="87" y="126"/>
                  </a:cubicBezTo>
                  <a:cubicBezTo>
                    <a:pt x="93" y="132"/>
                    <a:pt x="98" y="138"/>
                    <a:pt x="104" y="143"/>
                  </a:cubicBezTo>
                  <a:cubicBezTo>
                    <a:pt x="114" y="153"/>
                    <a:pt x="123" y="157"/>
                    <a:pt x="129" y="157"/>
                  </a:cubicBezTo>
                  <a:cubicBezTo>
                    <a:pt x="131" y="157"/>
                    <a:pt x="133" y="157"/>
                    <a:pt x="135" y="156"/>
                  </a:cubicBezTo>
                  <a:cubicBezTo>
                    <a:pt x="141" y="152"/>
                    <a:pt x="142" y="140"/>
                    <a:pt x="137" y="122"/>
                  </a:cubicBezTo>
                  <a:cubicBezTo>
                    <a:pt x="136" y="118"/>
                    <a:pt x="134" y="113"/>
                    <a:pt x="132" y="108"/>
                  </a:cubicBezTo>
                  <a:cubicBezTo>
                    <a:pt x="159" y="104"/>
                    <a:pt x="179" y="96"/>
                    <a:pt x="179" y="84"/>
                  </a:cubicBezTo>
                  <a:close/>
                  <a:moveTo>
                    <a:pt x="107" y="20"/>
                  </a:moveTo>
                  <a:cubicBezTo>
                    <a:pt x="116" y="12"/>
                    <a:pt x="124" y="7"/>
                    <a:pt x="129" y="7"/>
                  </a:cubicBezTo>
                  <a:cubicBezTo>
                    <a:pt x="130" y="7"/>
                    <a:pt x="132" y="7"/>
                    <a:pt x="132" y="8"/>
                  </a:cubicBezTo>
                  <a:cubicBezTo>
                    <a:pt x="137" y="11"/>
                    <a:pt x="137" y="21"/>
                    <a:pt x="133" y="36"/>
                  </a:cubicBezTo>
                  <a:cubicBezTo>
                    <a:pt x="130" y="43"/>
                    <a:pt x="127" y="51"/>
                    <a:pt x="124" y="59"/>
                  </a:cubicBezTo>
                  <a:cubicBezTo>
                    <a:pt x="118" y="59"/>
                    <a:pt x="111" y="58"/>
                    <a:pt x="105" y="58"/>
                  </a:cubicBezTo>
                  <a:cubicBezTo>
                    <a:pt x="100" y="51"/>
                    <a:pt x="95" y="44"/>
                    <a:pt x="90" y="38"/>
                  </a:cubicBezTo>
                  <a:cubicBezTo>
                    <a:pt x="96" y="31"/>
                    <a:pt x="101" y="25"/>
                    <a:pt x="107" y="20"/>
                  </a:cubicBezTo>
                  <a:close/>
                  <a:moveTo>
                    <a:pt x="106" y="92"/>
                  </a:moveTo>
                  <a:cubicBezTo>
                    <a:pt x="103" y="97"/>
                    <a:pt x="100" y="102"/>
                    <a:pt x="96" y="107"/>
                  </a:cubicBezTo>
                  <a:cubicBezTo>
                    <a:pt x="94" y="107"/>
                    <a:pt x="92" y="107"/>
                    <a:pt x="90" y="107"/>
                  </a:cubicBezTo>
                  <a:cubicBezTo>
                    <a:pt x="86" y="107"/>
                    <a:pt x="82" y="107"/>
                    <a:pt x="78" y="106"/>
                  </a:cubicBezTo>
                  <a:cubicBezTo>
                    <a:pt x="75" y="102"/>
                    <a:pt x="71" y="97"/>
                    <a:pt x="68" y="92"/>
                  </a:cubicBezTo>
                  <a:cubicBezTo>
                    <a:pt x="66" y="88"/>
                    <a:pt x="63" y="84"/>
                    <a:pt x="61" y="80"/>
                  </a:cubicBezTo>
                  <a:cubicBezTo>
                    <a:pt x="63" y="76"/>
                    <a:pt x="66" y="72"/>
                    <a:pt x="68" y="68"/>
                  </a:cubicBezTo>
                  <a:cubicBezTo>
                    <a:pt x="69" y="66"/>
                    <a:pt x="71" y="64"/>
                    <a:pt x="72" y="63"/>
                  </a:cubicBezTo>
                  <a:cubicBezTo>
                    <a:pt x="78" y="62"/>
                    <a:pt x="84" y="62"/>
                    <a:pt x="90" y="62"/>
                  </a:cubicBezTo>
                  <a:cubicBezTo>
                    <a:pt x="94" y="62"/>
                    <a:pt x="98" y="62"/>
                    <a:pt x="102" y="62"/>
                  </a:cubicBezTo>
                  <a:cubicBezTo>
                    <a:pt x="104" y="64"/>
                    <a:pt x="105" y="66"/>
                    <a:pt x="106" y="68"/>
                  </a:cubicBezTo>
                  <a:cubicBezTo>
                    <a:pt x="109" y="72"/>
                    <a:pt x="111" y="76"/>
                    <a:pt x="113" y="80"/>
                  </a:cubicBezTo>
                  <a:cubicBezTo>
                    <a:pt x="111" y="84"/>
                    <a:pt x="109" y="88"/>
                    <a:pt x="106" y="92"/>
                  </a:cubicBezTo>
                  <a:close/>
                  <a:moveTo>
                    <a:pt x="116" y="84"/>
                  </a:moveTo>
                  <a:cubicBezTo>
                    <a:pt x="119" y="91"/>
                    <a:pt x="123" y="98"/>
                    <a:pt x="126" y="105"/>
                  </a:cubicBezTo>
                  <a:cubicBezTo>
                    <a:pt x="118" y="105"/>
                    <a:pt x="110" y="106"/>
                    <a:pt x="102" y="106"/>
                  </a:cubicBezTo>
                  <a:cubicBezTo>
                    <a:pt x="104" y="103"/>
                    <a:pt x="107" y="98"/>
                    <a:pt x="110" y="94"/>
                  </a:cubicBezTo>
                  <a:cubicBezTo>
                    <a:pt x="112" y="91"/>
                    <a:pt x="114" y="88"/>
                    <a:pt x="116" y="84"/>
                  </a:cubicBezTo>
                  <a:close/>
                  <a:moveTo>
                    <a:pt x="93" y="111"/>
                  </a:moveTo>
                  <a:cubicBezTo>
                    <a:pt x="91" y="114"/>
                    <a:pt x="89" y="116"/>
                    <a:pt x="87" y="119"/>
                  </a:cubicBezTo>
                  <a:cubicBezTo>
                    <a:pt x="85" y="116"/>
                    <a:pt x="83" y="114"/>
                    <a:pt x="81" y="111"/>
                  </a:cubicBezTo>
                  <a:cubicBezTo>
                    <a:pt x="84" y="111"/>
                    <a:pt x="87" y="111"/>
                    <a:pt x="90" y="111"/>
                  </a:cubicBezTo>
                  <a:cubicBezTo>
                    <a:pt x="91" y="111"/>
                    <a:pt x="92" y="111"/>
                    <a:pt x="93" y="111"/>
                  </a:cubicBezTo>
                  <a:close/>
                  <a:moveTo>
                    <a:pt x="72" y="106"/>
                  </a:moveTo>
                  <a:cubicBezTo>
                    <a:pt x="64" y="106"/>
                    <a:pt x="56" y="105"/>
                    <a:pt x="49" y="104"/>
                  </a:cubicBezTo>
                  <a:cubicBezTo>
                    <a:pt x="52" y="98"/>
                    <a:pt x="55" y="91"/>
                    <a:pt x="59" y="84"/>
                  </a:cubicBezTo>
                  <a:cubicBezTo>
                    <a:pt x="60" y="88"/>
                    <a:pt x="62" y="91"/>
                    <a:pt x="64" y="94"/>
                  </a:cubicBezTo>
                  <a:cubicBezTo>
                    <a:pt x="67" y="98"/>
                    <a:pt x="70" y="102"/>
                    <a:pt x="72" y="106"/>
                  </a:cubicBezTo>
                  <a:close/>
                  <a:moveTo>
                    <a:pt x="59" y="75"/>
                  </a:moveTo>
                  <a:cubicBezTo>
                    <a:pt x="57" y="72"/>
                    <a:pt x="55" y="68"/>
                    <a:pt x="53" y="64"/>
                  </a:cubicBezTo>
                  <a:cubicBezTo>
                    <a:pt x="57" y="64"/>
                    <a:pt x="62" y="63"/>
                    <a:pt x="66" y="63"/>
                  </a:cubicBezTo>
                  <a:cubicBezTo>
                    <a:pt x="66" y="64"/>
                    <a:pt x="65" y="65"/>
                    <a:pt x="64" y="66"/>
                  </a:cubicBezTo>
                  <a:cubicBezTo>
                    <a:pt x="62" y="69"/>
                    <a:pt x="60" y="72"/>
                    <a:pt x="59" y="75"/>
                  </a:cubicBezTo>
                  <a:close/>
                  <a:moveTo>
                    <a:pt x="75" y="58"/>
                  </a:moveTo>
                  <a:cubicBezTo>
                    <a:pt x="79" y="52"/>
                    <a:pt x="83" y="47"/>
                    <a:pt x="87" y="41"/>
                  </a:cubicBezTo>
                  <a:cubicBezTo>
                    <a:pt x="91" y="46"/>
                    <a:pt x="95" y="52"/>
                    <a:pt x="99" y="58"/>
                  </a:cubicBezTo>
                  <a:cubicBezTo>
                    <a:pt x="96" y="58"/>
                    <a:pt x="93" y="58"/>
                    <a:pt x="90" y="58"/>
                  </a:cubicBezTo>
                  <a:cubicBezTo>
                    <a:pt x="85" y="58"/>
                    <a:pt x="80" y="58"/>
                    <a:pt x="75" y="58"/>
                  </a:cubicBezTo>
                  <a:close/>
                  <a:moveTo>
                    <a:pt x="110" y="66"/>
                  </a:moveTo>
                  <a:cubicBezTo>
                    <a:pt x="109" y="65"/>
                    <a:pt x="108" y="64"/>
                    <a:pt x="108" y="63"/>
                  </a:cubicBezTo>
                  <a:cubicBezTo>
                    <a:pt x="113" y="63"/>
                    <a:pt x="117" y="63"/>
                    <a:pt x="122" y="64"/>
                  </a:cubicBezTo>
                  <a:cubicBezTo>
                    <a:pt x="120" y="68"/>
                    <a:pt x="118" y="71"/>
                    <a:pt x="116" y="75"/>
                  </a:cubicBezTo>
                  <a:cubicBezTo>
                    <a:pt x="114" y="72"/>
                    <a:pt x="112" y="69"/>
                    <a:pt x="110" y="66"/>
                  </a:cubicBezTo>
                  <a:close/>
                  <a:moveTo>
                    <a:pt x="42" y="36"/>
                  </a:moveTo>
                  <a:cubicBezTo>
                    <a:pt x="37" y="21"/>
                    <a:pt x="37" y="11"/>
                    <a:pt x="42" y="8"/>
                  </a:cubicBezTo>
                  <a:cubicBezTo>
                    <a:pt x="43" y="7"/>
                    <a:pt x="44" y="7"/>
                    <a:pt x="45" y="7"/>
                  </a:cubicBezTo>
                  <a:cubicBezTo>
                    <a:pt x="50" y="7"/>
                    <a:pt x="58" y="12"/>
                    <a:pt x="67" y="20"/>
                  </a:cubicBezTo>
                  <a:cubicBezTo>
                    <a:pt x="73" y="25"/>
                    <a:pt x="79" y="31"/>
                    <a:pt x="84" y="38"/>
                  </a:cubicBezTo>
                  <a:cubicBezTo>
                    <a:pt x="79" y="44"/>
                    <a:pt x="74" y="51"/>
                    <a:pt x="69" y="58"/>
                  </a:cubicBezTo>
                  <a:cubicBezTo>
                    <a:pt x="63" y="59"/>
                    <a:pt x="57" y="59"/>
                    <a:pt x="51" y="60"/>
                  </a:cubicBezTo>
                  <a:cubicBezTo>
                    <a:pt x="47" y="52"/>
                    <a:pt x="44" y="44"/>
                    <a:pt x="42" y="36"/>
                  </a:cubicBezTo>
                  <a:close/>
                  <a:moveTo>
                    <a:pt x="5" y="84"/>
                  </a:moveTo>
                  <a:cubicBezTo>
                    <a:pt x="5" y="77"/>
                    <a:pt x="21" y="69"/>
                    <a:pt x="48" y="65"/>
                  </a:cubicBezTo>
                  <a:cubicBezTo>
                    <a:pt x="51" y="70"/>
                    <a:pt x="53" y="75"/>
                    <a:pt x="56" y="80"/>
                  </a:cubicBezTo>
                  <a:cubicBezTo>
                    <a:pt x="52" y="88"/>
                    <a:pt x="48" y="96"/>
                    <a:pt x="45" y="103"/>
                  </a:cubicBezTo>
                  <a:cubicBezTo>
                    <a:pt x="20" y="99"/>
                    <a:pt x="5" y="91"/>
                    <a:pt x="5" y="84"/>
                  </a:cubicBezTo>
                  <a:close/>
                  <a:moveTo>
                    <a:pt x="67" y="140"/>
                  </a:moveTo>
                  <a:cubicBezTo>
                    <a:pt x="56" y="150"/>
                    <a:pt x="46" y="155"/>
                    <a:pt x="42" y="152"/>
                  </a:cubicBezTo>
                  <a:cubicBezTo>
                    <a:pt x="37" y="149"/>
                    <a:pt x="37" y="139"/>
                    <a:pt x="42" y="124"/>
                  </a:cubicBezTo>
                  <a:cubicBezTo>
                    <a:pt x="43" y="119"/>
                    <a:pt x="45" y="113"/>
                    <a:pt x="47" y="108"/>
                  </a:cubicBezTo>
                  <a:cubicBezTo>
                    <a:pt x="56" y="109"/>
                    <a:pt x="66" y="110"/>
                    <a:pt x="76" y="111"/>
                  </a:cubicBezTo>
                  <a:cubicBezTo>
                    <a:pt x="79" y="115"/>
                    <a:pt x="81" y="119"/>
                    <a:pt x="84" y="122"/>
                  </a:cubicBezTo>
                  <a:cubicBezTo>
                    <a:pt x="79" y="129"/>
                    <a:pt x="73" y="135"/>
                    <a:pt x="67" y="140"/>
                  </a:cubicBezTo>
                  <a:close/>
                  <a:moveTo>
                    <a:pt x="133" y="124"/>
                  </a:moveTo>
                  <a:cubicBezTo>
                    <a:pt x="137" y="139"/>
                    <a:pt x="137" y="149"/>
                    <a:pt x="132" y="152"/>
                  </a:cubicBezTo>
                  <a:cubicBezTo>
                    <a:pt x="128" y="155"/>
                    <a:pt x="118" y="150"/>
                    <a:pt x="107" y="140"/>
                  </a:cubicBezTo>
                  <a:cubicBezTo>
                    <a:pt x="101" y="135"/>
                    <a:pt x="96" y="129"/>
                    <a:pt x="90" y="122"/>
                  </a:cubicBezTo>
                  <a:cubicBezTo>
                    <a:pt x="93" y="119"/>
                    <a:pt x="96" y="115"/>
                    <a:pt x="98" y="111"/>
                  </a:cubicBezTo>
                  <a:cubicBezTo>
                    <a:pt x="108" y="111"/>
                    <a:pt x="118" y="110"/>
                    <a:pt x="127" y="109"/>
                  </a:cubicBezTo>
                  <a:cubicBezTo>
                    <a:pt x="129" y="114"/>
                    <a:pt x="131" y="119"/>
                    <a:pt x="133" y="124"/>
                  </a:cubicBezTo>
                  <a:close/>
                  <a:moveTo>
                    <a:pt x="130" y="104"/>
                  </a:moveTo>
                  <a:cubicBezTo>
                    <a:pt x="127" y="96"/>
                    <a:pt x="123" y="88"/>
                    <a:pt x="118" y="80"/>
                  </a:cubicBezTo>
                  <a:cubicBezTo>
                    <a:pt x="121" y="75"/>
                    <a:pt x="124" y="69"/>
                    <a:pt x="126" y="64"/>
                  </a:cubicBezTo>
                  <a:cubicBezTo>
                    <a:pt x="156" y="68"/>
                    <a:pt x="175" y="77"/>
                    <a:pt x="175" y="84"/>
                  </a:cubicBezTo>
                  <a:cubicBezTo>
                    <a:pt x="175" y="92"/>
                    <a:pt x="158" y="100"/>
                    <a:pt x="130" y="104"/>
                  </a:cubicBez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91" name="iṩḷíḑe">
              <a:extLst>
                <a:ext uri="{FF2B5EF4-FFF2-40B4-BE49-F238E27FC236}">
                  <a16:creationId xmlns:a16="http://schemas.microsoft.com/office/drawing/2014/main" id="{704CD395-46A8-492A-9B89-CFC5F360E2C5}"/>
                </a:ext>
              </a:extLst>
            </p:cNvPr>
            <p:cNvSpPr/>
            <p:nvPr/>
          </p:nvSpPr>
          <p:spPr bwMode="auto">
            <a:xfrm>
              <a:off x="6517849" y="1850367"/>
              <a:ext cx="83354" cy="85387"/>
            </a:xfrm>
            <a:prstGeom prst="ellipse">
              <a:avLst/>
            </a:pr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92" name="ïṡḷidé">
              <a:extLst>
                <a:ext uri="{FF2B5EF4-FFF2-40B4-BE49-F238E27FC236}">
                  <a16:creationId xmlns:a16="http://schemas.microsoft.com/office/drawing/2014/main" id="{2290E5E2-A8B8-4260-AF2C-FF044FE12440}"/>
                </a:ext>
              </a:extLst>
            </p:cNvPr>
            <p:cNvSpPr/>
            <p:nvPr/>
          </p:nvSpPr>
          <p:spPr bwMode="auto">
            <a:xfrm>
              <a:off x="6605269" y="1602339"/>
              <a:ext cx="50826" cy="50826"/>
            </a:xfrm>
            <a:prstGeom prst="ellipse">
              <a:avLst/>
            </a:pr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93" name="íŝľidè">
              <a:extLst>
                <a:ext uri="{FF2B5EF4-FFF2-40B4-BE49-F238E27FC236}">
                  <a16:creationId xmlns:a16="http://schemas.microsoft.com/office/drawing/2014/main" id="{EA7B67F1-E22C-4B39-B3F3-35DBD5B9623D}"/>
                </a:ext>
              </a:extLst>
            </p:cNvPr>
            <p:cNvSpPr/>
            <p:nvPr/>
          </p:nvSpPr>
          <p:spPr bwMode="auto">
            <a:xfrm>
              <a:off x="6828901" y="1809706"/>
              <a:ext cx="50826" cy="54892"/>
            </a:xfrm>
            <a:prstGeom prst="ellipse">
              <a:avLst/>
            </a:pr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94" name="íśļïḓé">
              <a:extLst>
                <a:ext uri="{FF2B5EF4-FFF2-40B4-BE49-F238E27FC236}">
                  <a16:creationId xmlns:a16="http://schemas.microsoft.com/office/drawing/2014/main" id="{B62FFCC7-0B1B-4711-A41E-865933AFC62B}"/>
                </a:ext>
              </a:extLst>
            </p:cNvPr>
            <p:cNvSpPr/>
            <p:nvPr/>
          </p:nvSpPr>
          <p:spPr bwMode="auto">
            <a:xfrm>
              <a:off x="6432463" y="2134988"/>
              <a:ext cx="50826" cy="50826"/>
            </a:xfrm>
            <a:prstGeom prst="ellipse">
              <a:avLst/>
            </a:pr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95" name="îṧḻïḍé">
              <a:extLst>
                <a:ext uri="{FF2B5EF4-FFF2-40B4-BE49-F238E27FC236}">
                  <a16:creationId xmlns:a16="http://schemas.microsoft.com/office/drawing/2014/main" id="{B227FD69-04AF-4B6A-9D9F-E46CD988A2F2}"/>
                </a:ext>
              </a:extLst>
            </p:cNvPr>
            <p:cNvSpPr/>
            <p:nvPr/>
          </p:nvSpPr>
          <p:spPr bwMode="auto">
            <a:xfrm>
              <a:off x="6296251" y="1799541"/>
              <a:ext cx="50826" cy="50826"/>
            </a:xfrm>
            <a:prstGeom prst="ellipse">
              <a:avLst/>
            </a:pr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96" name="îṥḷíḍê">
              <a:extLst>
                <a:ext uri="{FF2B5EF4-FFF2-40B4-BE49-F238E27FC236}">
                  <a16:creationId xmlns:a16="http://schemas.microsoft.com/office/drawing/2014/main" id="{C18A0E06-801A-42C0-9CE7-F004FE3F00D3}"/>
                </a:ext>
              </a:extLst>
            </p:cNvPr>
            <p:cNvSpPr/>
            <p:nvPr/>
          </p:nvSpPr>
          <p:spPr bwMode="auto">
            <a:xfrm>
              <a:off x="6887858" y="1901191"/>
              <a:ext cx="931120" cy="817271"/>
            </a:xfrm>
            <a:custGeom>
              <a:avLst/>
              <a:gdLst>
                <a:gd name="T0" fmla="*/ 144 w 220"/>
                <a:gd name="T1" fmla="*/ 31 h 193"/>
                <a:gd name="T2" fmla="*/ 142 w 220"/>
                <a:gd name="T3" fmla="*/ 67 h 193"/>
                <a:gd name="T4" fmla="*/ 97 w 220"/>
                <a:gd name="T5" fmla="*/ 49 h 193"/>
                <a:gd name="T6" fmla="*/ 90 w 220"/>
                <a:gd name="T7" fmla="*/ 52 h 193"/>
                <a:gd name="T8" fmla="*/ 56 w 220"/>
                <a:gd name="T9" fmla="*/ 99 h 193"/>
                <a:gd name="T10" fmla="*/ 5 w 220"/>
                <a:gd name="T11" fmla="*/ 123 h 193"/>
                <a:gd name="T12" fmla="*/ 61 w 220"/>
                <a:gd name="T13" fmla="*/ 180 h 193"/>
                <a:gd name="T14" fmla="*/ 53 w 220"/>
                <a:gd name="T15" fmla="*/ 191 h 193"/>
                <a:gd name="T16" fmla="*/ 82 w 220"/>
                <a:gd name="T17" fmla="*/ 166 h 193"/>
                <a:gd name="T18" fmla="*/ 88 w 220"/>
                <a:gd name="T19" fmla="*/ 123 h 193"/>
                <a:gd name="T20" fmla="*/ 157 w 220"/>
                <a:gd name="T21" fmla="*/ 99 h 193"/>
                <a:gd name="T22" fmla="*/ 183 w 220"/>
                <a:gd name="T23" fmla="*/ 90 h 193"/>
                <a:gd name="T24" fmla="*/ 217 w 220"/>
                <a:gd name="T25" fmla="*/ 84 h 193"/>
                <a:gd name="T26" fmla="*/ 207 w 220"/>
                <a:gd name="T27" fmla="*/ 82 h 193"/>
                <a:gd name="T28" fmla="*/ 165 w 220"/>
                <a:gd name="T29" fmla="*/ 6 h 193"/>
                <a:gd name="T30" fmla="*/ 65 w 220"/>
                <a:gd name="T31" fmla="*/ 177 h 193"/>
                <a:gd name="T32" fmla="*/ 36 w 220"/>
                <a:gd name="T33" fmla="*/ 107 h 193"/>
                <a:gd name="T34" fmla="*/ 65 w 220"/>
                <a:gd name="T35" fmla="*/ 177 h 193"/>
                <a:gd name="T36" fmla="*/ 80 w 220"/>
                <a:gd name="T37" fmla="*/ 160 h 193"/>
                <a:gd name="T38" fmla="*/ 77 w 220"/>
                <a:gd name="T39" fmla="*/ 114 h 193"/>
                <a:gd name="T40" fmla="*/ 82 w 220"/>
                <a:gd name="T41" fmla="*/ 119 h 193"/>
                <a:gd name="T42" fmla="*/ 81 w 220"/>
                <a:gd name="T43" fmla="*/ 71 h 193"/>
                <a:gd name="T44" fmla="*/ 125 w 220"/>
                <a:gd name="T45" fmla="*/ 135 h 193"/>
                <a:gd name="T46" fmla="*/ 131 w 220"/>
                <a:gd name="T47" fmla="*/ 134 h 193"/>
                <a:gd name="T48" fmla="*/ 96 w 220"/>
                <a:gd name="T49" fmla="*/ 54 h 193"/>
                <a:gd name="T50" fmla="*/ 131 w 220"/>
                <a:gd name="T51" fmla="*/ 134 h 193"/>
                <a:gd name="T52" fmla="*/ 149 w 220"/>
                <a:gd name="T53" fmla="*/ 121 h 193"/>
                <a:gd name="T54" fmla="*/ 144 w 220"/>
                <a:gd name="T55" fmla="*/ 75 h 193"/>
                <a:gd name="T56" fmla="*/ 147 w 220"/>
                <a:gd name="T57" fmla="*/ 66 h 193"/>
                <a:gd name="T58" fmla="*/ 179 w 220"/>
                <a:gd name="T59" fmla="*/ 83 h 193"/>
                <a:gd name="T60" fmla="*/ 147 w 220"/>
                <a:gd name="T61" fmla="*/ 66 h 193"/>
                <a:gd name="T62" fmla="*/ 185 w 220"/>
                <a:gd name="T63" fmla="*/ 84 h 193"/>
                <a:gd name="T64" fmla="*/ 156 w 220"/>
                <a:gd name="T65" fmla="*/ 18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0" h="193">
                  <a:moveTo>
                    <a:pt x="161" y="3"/>
                  </a:moveTo>
                  <a:cubicBezTo>
                    <a:pt x="153" y="11"/>
                    <a:pt x="148" y="21"/>
                    <a:pt x="144" y="31"/>
                  </a:cubicBezTo>
                  <a:cubicBezTo>
                    <a:pt x="144" y="31"/>
                    <a:pt x="143" y="32"/>
                    <a:pt x="144" y="32"/>
                  </a:cubicBezTo>
                  <a:cubicBezTo>
                    <a:pt x="140" y="43"/>
                    <a:pt x="140" y="54"/>
                    <a:pt x="142" y="67"/>
                  </a:cubicBezTo>
                  <a:cubicBezTo>
                    <a:pt x="139" y="65"/>
                    <a:pt x="137" y="62"/>
                    <a:pt x="134" y="60"/>
                  </a:cubicBezTo>
                  <a:cubicBezTo>
                    <a:pt x="123" y="52"/>
                    <a:pt x="110" y="44"/>
                    <a:pt x="97" y="49"/>
                  </a:cubicBezTo>
                  <a:cubicBezTo>
                    <a:pt x="97" y="49"/>
                    <a:pt x="96" y="49"/>
                    <a:pt x="95" y="49"/>
                  </a:cubicBezTo>
                  <a:cubicBezTo>
                    <a:pt x="93" y="50"/>
                    <a:pt x="92" y="51"/>
                    <a:pt x="90" y="52"/>
                  </a:cubicBezTo>
                  <a:cubicBezTo>
                    <a:pt x="69" y="66"/>
                    <a:pt x="73" y="89"/>
                    <a:pt x="79" y="110"/>
                  </a:cubicBezTo>
                  <a:cubicBezTo>
                    <a:pt x="72" y="105"/>
                    <a:pt x="65" y="101"/>
                    <a:pt x="56" y="99"/>
                  </a:cubicBezTo>
                  <a:cubicBezTo>
                    <a:pt x="37" y="96"/>
                    <a:pt x="17" y="108"/>
                    <a:pt x="3" y="119"/>
                  </a:cubicBezTo>
                  <a:cubicBezTo>
                    <a:pt x="0" y="120"/>
                    <a:pt x="2" y="125"/>
                    <a:pt x="5" y="123"/>
                  </a:cubicBezTo>
                  <a:cubicBezTo>
                    <a:pt x="9" y="120"/>
                    <a:pt x="13" y="118"/>
                    <a:pt x="16" y="115"/>
                  </a:cubicBezTo>
                  <a:cubicBezTo>
                    <a:pt x="31" y="137"/>
                    <a:pt x="46" y="158"/>
                    <a:pt x="61" y="180"/>
                  </a:cubicBezTo>
                  <a:cubicBezTo>
                    <a:pt x="58" y="182"/>
                    <a:pt x="54" y="185"/>
                    <a:pt x="50" y="187"/>
                  </a:cubicBezTo>
                  <a:cubicBezTo>
                    <a:pt x="47" y="189"/>
                    <a:pt x="50" y="193"/>
                    <a:pt x="53" y="191"/>
                  </a:cubicBezTo>
                  <a:cubicBezTo>
                    <a:pt x="63" y="185"/>
                    <a:pt x="74" y="177"/>
                    <a:pt x="82" y="167"/>
                  </a:cubicBezTo>
                  <a:cubicBezTo>
                    <a:pt x="82" y="166"/>
                    <a:pt x="82" y="166"/>
                    <a:pt x="82" y="166"/>
                  </a:cubicBezTo>
                  <a:cubicBezTo>
                    <a:pt x="86" y="162"/>
                    <a:pt x="88" y="157"/>
                    <a:pt x="90" y="152"/>
                  </a:cubicBezTo>
                  <a:cubicBezTo>
                    <a:pt x="92" y="142"/>
                    <a:pt x="91" y="132"/>
                    <a:pt x="88" y="123"/>
                  </a:cubicBezTo>
                  <a:cubicBezTo>
                    <a:pt x="103" y="134"/>
                    <a:pt x="120" y="145"/>
                    <a:pt x="140" y="137"/>
                  </a:cubicBezTo>
                  <a:cubicBezTo>
                    <a:pt x="155" y="130"/>
                    <a:pt x="161" y="114"/>
                    <a:pt x="157" y="99"/>
                  </a:cubicBezTo>
                  <a:cubicBezTo>
                    <a:pt x="155" y="92"/>
                    <a:pt x="153" y="86"/>
                    <a:pt x="151" y="79"/>
                  </a:cubicBezTo>
                  <a:cubicBezTo>
                    <a:pt x="161" y="85"/>
                    <a:pt x="172" y="89"/>
                    <a:pt x="183" y="90"/>
                  </a:cubicBezTo>
                  <a:cubicBezTo>
                    <a:pt x="184" y="90"/>
                    <a:pt x="185" y="90"/>
                    <a:pt x="186" y="90"/>
                  </a:cubicBezTo>
                  <a:cubicBezTo>
                    <a:pt x="196" y="90"/>
                    <a:pt x="206" y="88"/>
                    <a:pt x="217" y="84"/>
                  </a:cubicBezTo>
                  <a:cubicBezTo>
                    <a:pt x="220" y="82"/>
                    <a:pt x="219" y="77"/>
                    <a:pt x="216" y="79"/>
                  </a:cubicBezTo>
                  <a:cubicBezTo>
                    <a:pt x="213" y="80"/>
                    <a:pt x="210" y="81"/>
                    <a:pt x="207" y="82"/>
                  </a:cubicBezTo>
                  <a:cubicBezTo>
                    <a:pt x="191" y="59"/>
                    <a:pt x="175" y="36"/>
                    <a:pt x="159" y="13"/>
                  </a:cubicBezTo>
                  <a:cubicBezTo>
                    <a:pt x="161" y="11"/>
                    <a:pt x="163" y="9"/>
                    <a:pt x="165" y="6"/>
                  </a:cubicBezTo>
                  <a:cubicBezTo>
                    <a:pt x="167" y="4"/>
                    <a:pt x="163" y="0"/>
                    <a:pt x="161" y="3"/>
                  </a:cubicBezTo>
                  <a:close/>
                  <a:moveTo>
                    <a:pt x="65" y="177"/>
                  </a:moveTo>
                  <a:cubicBezTo>
                    <a:pt x="50" y="155"/>
                    <a:pt x="36" y="134"/>
                    <a:pt x="21" y="113"/>
                  </a:cubicBezTo>
                  <a:cubicBezTo>
                    <a:pt x="26" y="110"/>
                    <a:pt x="31" y="108"/>
                    <a:pt x="36" y="107"/>
                  </a:cubicBezTo>
                  <a:cubicBezTo>
                    <a:pt x="50" y="126"/>
                    <a:pt x="63" y="145"/>
                    <a:pt x="77" y="165"/>
                  </a:cubicBezTo>
                  <a:cubicBezTo>
                    <a:pt x="73" y="169"/>
                    <a:pt x="69" y="173"/>
                    <a:pt x="65" y="177"/>
                  </a:cubicBezTo>
                  <a:close/>
                  <a:moveTo>
                    <a:pt x="82" y="119"/>
                  </a:moveTo>
                  <a:cubicBezTo>
                    <a:pt x="86" y="134"/>
                    <a:pt x="88" y="147"/>
                    <a:pt x="80" y="160"/>
                  </a:cubicBezTo>
                  <a:cubicBezTo>
                    <a:pt x="67" y="142"/>
                    <a:pt x="54" y="124"/>
                    <a:pt x="42" y="105"/>
                  </a:cubicBezTo>
                  <a:cubicBezTo>
                    <a:pt x="53" y="104"/>
                    <a:pt x="65" y="106"/>
                    <a:pt x="77" y="114"/>
                  </a:cubicBezTo>
                  <a:cubicBezTo>
                    <a:pt x="78" y="116"/>
                    <a:pt x="80" y="117"/>
                    <a:pt x="81" y="118"/>
                  </a:cubicBezTo>
                  <a:cubicBezTo>
                    <a:pt x="82" y="118"/>
                    <a:pt x="82" y="119"/>
                    <a:pt x="82" y="119"/>
                  </a:cubicBezTo>
                  <a:close/>
                  <a:moveTo>
                    <a:pt x="85" y="115"/>
                  </a:moveTo>
                  <a:cubicBezTo>
                    <a:pt x="80" y="100"/>
                    <a:pt x="75" y="85"/>
                    <a:pt x="81" y="71"/>
                  </a:cubicBezTo>
                  <a:cubicBezTo>
                    <a:pt x="96" y="92"/>
                    <a:pt x="111" y="113"/>
                    <a:pt x="126" y="135"/>
                  </a:cubicBezTo>
                  <a:cubicBezTo>
                    <a:pt x="125" y="135"/>
                    <a:pt x="125" y="135"/>
                    <a:pt x="125" y="135"/>
                  </a:cubicBezTo>
                  <a:cubicBezTo>
                    <a:pt x="109" y="135"/>
                    <a:pt x="97" y="125"/>
                    <a:pt x="85" y="115"/>
                  </a:cubicBezTo>
                  <a:close/>
                  <a:moveTo>
                    <a:pt x="131" y="134"/>
                  </a:moveTo>
                  <a:cubicBezTo>
                    <a:pt x="116" y="111"/>
                    <a:pt x="100" y="88"/>
                    <a:pt x="84" y="66"/>
                  </a:cubicBezTo>
                  <a:cubicBezTo>
                    <a:pt x="88" y="59"/>
                    <a:pt x="92" y="56"/>
                    <a:pt x="96" y="54"/>
                  </a:cubicBezTo>
                  <a:cubicBezTo>
                    <a:pt x="113" y="78"/>
                    <a:pt x="129" y="102"/>
                    <a:pt x="146" y="126"/>
                  </a:cubicBezTo>
                  <a:cubicBezTo>
                    <a:pt x="142" y="130"/>
                    <a:pt x="137" y="133"/>
                    <a:pt x="131" y="134"/>
                  </a:cubicBezTo>
                  <a:close/>
                  <a:moveTo>
                    <a:pt x="152" y="100"/>
                  </a:moveTo>
                  <a:cubicBezTo>
                    <a:pt x="154" y="108"/>
                    <a:pt x="153" y="115"/>
                    <a:pt x="149" y="121"/>
                  </a:cubicBezTo>
                  <a:cubicBezTo>
                    <a:pt x="133" y="98"/>
                    <a:pt x="117" y="75"/>
                    <a:pt x="101" y="52"/>
                  </a:cubicBezTo>
                  <a:cubicBezTo>
                    <a:pt x="115" y="50"/>
                    <a:pt x="131" y="65"/>
                    <a:pt x="144" y="75"/>
                  </a:cubicBezTo>
                  <a:cubicBezTo>
                    <a:pt x="147" y="83"/>
                    <a:pt x="150" y="91"/>
                    <a:pt x="152" y="100"/>
                  </a:cubicBezTo>
                  <a:close/>
                  <a:moveTo>
                    <a:pt x="147" y="66"/>
                  </a:moveTo>
                  <a:cubicBezTo>
                    <a:pt x="145" y="56"/>
                    <a:pt x="145" y="47"/>
                    <a:pt x="147" y="38"/>
                  </a:cubicBezTo>
                  <a:cubicBezTo>
                    <a:pt x="158" y="53"/>
                    <a:pt x="168" y="68"/>
                    <a:pt x="179" y="83"/>
                  </a:cubicBezTo>
                  <a:cubicBezTo>
                    <a:pt x="168" y="82"/>
                    <a:pt x="158" y="77"/>
                    <a:pt x="148" y="71"/>
                  </a:cubicBezTo>
                  <a:cubicBezTo>
                    <a:pt x="148" y="69"/>
                    <a:pt x="147" y="68"/>
                    <a:pt x="147" y="66"/>
                  </a:cubicBezTo>
                  <a:close/>
                  <a:moveTo>
                    <a:pt x="201" y="83"/>
                  </a:moveTo>
                  <a:cubicBezTo>
                    <a:pt x="196" y="84"/>
                    <a:pt x="191" y="84"/>
                    <a:pt x="185" y="84"/>
                  </a:cubicBezTo>
                  <a:cubicBezTo>
                    <a:pt x="173" y="67"/>
                    <a:pt x="161" y="49"/>
                    <a:pt x="149" y="32"/>
                  </a:cubicBezTo>
                  <a:cubicBezTo>
                    <a:pt x="151" y="27"/>
                    <a:pt x="153" y="22"/>
                    <a:pt x="156" y="18"/>
                  </a:cubicBezTo>
                  <a:cubicBezTo>
                    <a:pt x="171" y="39"/>
                    <a:pt x="186" y="61"/>
                    <a:pt x="201" y="83"/>
                  </a:cubicBez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97" name="ï$ḷîde">
              <a:extLst>
                <a:ext uri="{FF2B5EF4-FFF2-40B4-BE49-F238E27FC236}">
                  <a16:creationId xmlns:a16="http://schemas.microsoft.com/office/drawing/2014/main" id="{8D3D65C4-6606-4B46-8253-6D2808868407}"/>
                </a:ext>
              </a:extLst>
            </p:cNvPr>
            <p:cNvSpPr/>
            <p:nvPr/>
          </p:nvSpPr>
          <p:spPr bwMode="auto">
            <a:xfrm>
              <a:off x="4991057" y="2907533"/>
              <a:ext cx="140279" cy="136212"/>
            </a:xfrm>
            <a:custGeom>
              <a:avLst/>
              <a:gdLst>
                <a:gd name="T0" fmla="*/ 29 w 33"/>
                <a:gd name="T1" fmla="*/ 12 h 32"/>
                <a:gd name="T2" fmla="*/ 28 w 33"/>
                <a:gd name="T3" fmla="*/ 12 h 32"/>
                <a:gd name="T4" fmla="*/ 28 w 33"/>
                <a:gd name="T5" fmla="*/ 12 h 32"/>
                <a:gd name="T6" fmla="*/ 28 w 33"/>
                <a:gd name="T7" fmla="*/ 12 h 32"/>
                <a:gd name="T8" fmla="*/ 28 w 33"/>
                <a:gd name="T9" fmla="*/ 12 h 32"/>
                <a:gd name="T10" fmla="*/ 20 w 33"/>
                <a:gd name="T11" fmla="*/ 12 h 32"/>
                <a:gd name="T12" fmla="*/ 16 w 33"/>
                <a:gd name="T13" fmla="*/ 0 h 32"/>
                <a:gd name="T14" fmla="*/ 11 w 33"/>
                <a:gd name="T15" fmla="*/ 12 h 32"/>
                <a:gd name="T16" fmla="*/ 0 w 33"/>
                <a:gd name="T17" fmla="*/ 16 h 32"/>
                <a:gd name="T18" fmla="*/ 11 w 33"/>
                <a:gd name="T19" fmla="*/ 21 h 32"/>
                <a:gd name="T20" fmla="*/ 16 w 33"/>
                <a:gd name="T21" fmla="*/ 32 h 32"/>
                <a:gd name="T22" fmla="*/ 20 w 33"/>
                <a:gd name="T23" fmla="*/ 21 h 32"/>
                <a:gd name="T24" fmla="*/ 29 w 33"/>
                <a:gd name="T25" fmla="*/ 20 h 32"/>
                <a:gd name="T26" fmla="*/ 29 w 33"/>
                <a:gd name="T27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32">
                  <a:moveTo>
                    <a:pt x="29" y="12"/>
                  </a:move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5" y="12"/>
                    <a:pt x="22" y="12"/>
                    <a:pt x="20" y="12"/>
                  </a:cubicBezTo>
                  <a:cubicBezTo>
                    <a:pt x="20" y="8"/>
                    <a:pt x="21" y="0"/>
                    <a:pt x="16" y="0"/>
                  </a:cubicBezTo>
                  <a:cubicBezTo>
                    <a:pt x="10" y="0"/>
                    <a:pt x="11" y="8"/>
                    <a:pt x="11" y="12"/>
                  </a:cubicBezTo>
                  <a:cubicBezTo>
                    <a:pt x="7" y="12"/>
                    <a:pt x="0" y="11"/>
                    <a:pt x="0" y="16"/>
                  </a:cubicBezTo>
                  <a:cubicBezTo>
                    <a:pt x="0" y="22"/>
                    <a:pt x="7" y="21"/>
                    <a:pt x="11" y="21"/>
                  </a:cubicBezTo>
                  <a:cubicBezTo>
                    <a:pt x="11" y="25"/>
                    <a:pt x="10" y="32"/>
                    <a:pt x="16" y="32"/>
                  </a:cubicBezTo>
                  <a:cubicBezTo>
                    <a:pt x="21" y="32"/>
                    <a:pt x="20" y="25"/>
                    <a:pt x="20" y="21"/>
                  </a:cubicBezTo>
                  <a:cubicBezTo>
                    <a:pt x="23" y="21"/>
                    <a:pt x="26" y="21"/>
                    <a:pt x="29" y="20"/>
                  </a:cubicBezTo>
                  <a:cubicBezTo>
                    <a:pt x="33" y="19"/>
                    <a:pt x="32" y="14"/>
                    <a:pt x="29" y="12"/>
                  </a:cubicBez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98" name="iṣļïḋé">
              <a:extLst>
                <a:ext uri="{FF2B5EF4-FFF2-40B4-BE49-F238E27FC236}">
                  <a16:creationId xmlns:a16="http://schemas.microsoft.com/office/drawing/2014/main" id="{006353DD-59D0-4475-A97C-E49B138980DD}"/>
                </a:ext>
              </a:extLst>
            </p:cNvPr>
            <p:cNvSpPr/>
            <p:nvPr/>
          </p:nvSpPr>
          <p:spPr bwMode="auto">
            <a:xfrm>
              <a:off x="8638282" y="2010974"/>
              <a:ext cx="189071" cy="182971"/>
            </a:xfrm>
            <a:custGeom>
              <a:avLst/>
              <a:gdLst>
                <a:gd name="T0" fmla="*/ 39 w 45"/>
                <a:gd name="T1" fmla="*/ 16 h 43"/>
                <a:gd name="T2" fmla="*/ 39 w 45"/>
                <a:gd name="T3" fmla="*/ 16 h 43"/>
                <a:gd name="T4" fmla="*/ 39 w 45"/>
                <a:gd name="T5" fmla="*/ 16 h 43"/>
                <a:gd name="T6" fmla="*/ 38 w 45"/>
                <a:gd name="T7" fmla="*/ 16 h 43"/>
                <a:gd name="T8" fmla="*/ 38 w 45"/>
                <a:gd name="T9" fmla="*/ 16 h 43"/>
                <a:gd name="T10" fmla="*/ 28 w 45"/>
                <a:gd name="T11" fmla="*/ 16 h 43"/>
                <a:gd name="T12" fmla="*/ 22 w 45"/>
                <a:gd name="T13" fmla="*/ 0 h 43"/>
                <a:gd name="T14" fmla="*/ 16 w 45"/>
                <a:gd name="T15" fmla="*/ 16 h 43"/>
                <a:gd name="T16" fmla="*/ 0 w 45"/>
                <a:gd name="T17" fmla="*/ 21 h 43"/>
                <a:gd name="T18" fmla="*/ 16 w 45"/>
                <a:gd name="T19" fmla="*/ 27 h 43"/>
                <a:gd name="T20" fmla="*/ 22 w 45"/>
                <a:gd name="T21" fmla="*/ 43 h 43"/>
                <a:gd name="T22" fmla="*/ 28 w 45"/>
                <a:gd name="T23" fmla="*/ 27 h 43"/>
                <a:gd name="T24" fmla="*/ 39 w 45"/>
                <a:gd name="T25" fmla="*/ 27 h 43"/>
                <a:gd name="T26" fmla="*/ 39 w 45"/>
                <a:gd name="T27" fmla="*/ 1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43">
                  <a:moveTo>
                    <a:pt x="39" y="16"/>
                  </a:moveTo>
                  <a:cubicBezTo>
                    <a:pt x="39" y="16"/>
                    <a:pt x="39" y="16"/>
                    <a:pt x="39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4" y="16"/>
                    <a:pt x="31" y="16"/>
                    <a:pt x="28" y="16"/>
                  </a:cubicBezTo>
                  <a:cubicBezTo>
                    <a:pt x="28" y="10"/>
                    <a:pt x="29" y="0"/>
                    <a:pt x="22" y="0"/>
                  </a:cubicBezTo>
                  <a:cubicBezTo>
                    <a:pt x="15" y="0"/>
                    <a:pt x="16" y="10"/>
                    <a:pt x="16" y="16"/>
                  </a:cubicBezTo>
                  <a:cubicBezTo>
                    <a:pt x="10" y="15"/>
                    <a:pt x="0" y="14"/>
                    <a:pt x="0" y="21"/>
                  </a:cubicBezTo>
                  <a:cubicBezTo>
                    <a:pt x="0" y="28"/>
                    <a:pt x="10" y="28"/>
                    <a:pt x="16" y="27"/>
                  </a:cubicBezTo>
                  <a:cubicBezTo>
                    <a:pt x="16" y="33"/>
                    <a:pt x="15" y="43"/>
                    <a:pt x="22" y="43"/>
                  </a:cubicBezTo>
                  <a:cubicBezTo>
                    <a:pt x="29" y="43"/>
                    <a:pt x="28" y="33"/>
                    <a:pt x="28" y="27"/>
                  </a:cubicBezTo>
                  <a:cubicBezTo>
                    <a:pt x="31" y="27"/>
                    <a:pt x="36" y="28"/>
                    <a:pt x="39" y="27"/>
                  </a:cubicBezTo>
                  <a:cubicBezTo>
                    <a:pt x="45" y="25"/>
                    <a:pt x="44" y="18"/>
                    <a:pt x="39" y="16"/>
                  </a:cubicBez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99" name="iśļïḓe">
              <a:extLst>
                <a:ext uri="{FF2B5EF4-FFF2-40B4-BE49-F238E27FC236}">
                  <a16:creationId xmlns:a16="http://schemas.microsoft.com/office/drawing/2014/main" id="{F6C4A1F8-858F-4352-876F-F36143820CBE}"/>
                </a:ext>
              </a:extLst>
            </p:cNvPr>
            <p:cNvSpPr/>
            <p:nvPr/>
          </p:nvSpPr>
          <p:spPr bwMode="auto">
            <a:xfrm>
              <a:off x="8743999" y="2659506"/>
              <a:ext cx="142311" cy="138245"/>
            </a:xfrm>
            <a:custGeom>
              <a:avLst/>
              <a:gdLst>
                <a:gd name="T0" fmla="*/ 29 w 34"/>
                <a:gd name="T1" fmla="*/ 12 h 33"/>
                <a:gd name="T2" fmla="*/ 29 w 34"/>
                <a:gd name="T3" fmla="*/ 12 h 33"/>
                <a:gd name="T4" fmla="*/ 29 w 34"/>
                <a:gd name="T5" fmla="*/ 12 h 33"/>
                <a:gd name="T6" fmla="*/ 29 w 34"/>
                <a:gd name="T7" fmla="*/ 12 h 33"/>
                <a:gd name="T8" fmla="*/ 28 w 34"/>
                <a:gd name="T9" fmla="*/ 12 h 33"/>
                <a:gd name="T10" fmla="*/ 20 w 34"/>
                <a:gd name="T11" fmla="*/ 12 h 33"/>
                <a:gd name="T12" fmla="*/ 16 w 34"/>
                <a:gd name="T13" fmla="*/ 0 h 33"/>
                <a:gd name="T14" fmla="*/ 12 w 34"/>
                <a:gd name="T15" fmla="*/ 12 h 33"/>
                <a:gd name="T16" fmla="*/ 0 w 34"/>
                <a:gd name="T17" fmla="*/ 16 h 33"/>
                <a:gd name="T18" fmla="*/ 12 w 34"/>
                <a:gd name="T19" fmla="*/ 21 h 33"/>
                <a:gd name="T20" fmla="*/ 16 w 34"/>
                <a:gd name="T21" fmla="*/ 33 h 33"/>
                <a:gd name="T22" fmla="*/ 20 w 34"/>
                <a:gd name="T23" fmla="*/ 21 h 33"/>
                <a:gd name="T24" fmla="*/ 29 w 34"/>
                <a:gd name="T25" fmla="*/ 20 h 33"/>
                <a:gd name="T26" fmla="*/ 29 w 34"/>
                <a:gd name="T27" fmla="*/ 1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3">
                  <a:moveTo>
                    <a:pt x="29" y="12"/>
                  </a:move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6" y="12"/>
                    <a:pt x="23" y="12"/>
                    <a:pt x="20" y="12"/>
                  </a:cubicBezTo>
                  <a:cubicBezTo>
                    <a:pt x="21" y="8"/>
                    <a:pt x="21" y="0"/>
                    <a:pt x="16" y="0"/>
                  </a:cubicBezTo>
                  <a:cubicBezTo>
                    <a:pt x="11" y="0"/>
                    <a:pt x="11" y="7"/>
                    <a:pt x="12" y="12"/>
                  </a:cubicBezTo>
                  <a:cubicBezTo>
                    <a:pt x="7" y="12"/>
                    <a:pt x="0" y="11"/>
                    <a:pt x="0" y="16"/>
                  </a:cubicBezTo>
                  <a:cubicBezTo>
                    <a:pt x="0" y="22"/>
                    <a:pt x="7" y="21"/>
                    <a:pt x="12" y="21"/>
                  </a:cubicBezTo>
                  <a:cubicBezTo>
                    <a:pt x="11" y="25"/>
                    <a:pt x="11" y="33"/>
                    <a:pt x="16" y="33"/>
                  </a:cubicBezTo>
                  <a:cubicBezTo>
                    <a:pt x="21" y="33"/>
                    <a:pt x="21" y="25"/>
                    <a:pt x="20" y="21"/>
                  </a:cubicBezTo>
                  <a:cubicBezTo>
                    <a:pt x="23" y="21"/>
                    <a:pt x="27" y="21"/>
                    <a:pt x="29" y="20"/>
                  </a:cubicBezTo>
                  <a:cubicBezTo>
                    <a:pt x="34" y="19"/>
                    <a:pt x="33" y="14"/>
                    <a:pt x="29" y="12"/>
                  </a:cubicBezTo>
                  <a:close/>
                </a:path>
              </a:pathLst>
            </a:cu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200" name="ï$ḷiḓé">
              <a:extLst>
                <a:ext uri="{FF2B5EF4-FFF2-40B4-BE49-F238E27FC236}">
                  <a16:creationId xmlns:a16="http://schemas.microsoft.com/office/drawing/2014/main" id="{DBD2A846-C3FB-4170-A65C-FEA102F7451B}"/>
                </a:ext>
              </a:extLst>
            </p:cNvPr>
            <p:cNvSpPr/>
            <p:nvPr/>
          </p:nvSpPr>
          <p:spPr bwMode="auto">
            <a:xfrm>
              <a:off x="9136370" y="2907533"/>
              <a:ext cx="85387" cy="89453"/>
            </a:xfrm>
            <a:custGeom>
              <a:avLst/>
              <a:gdLst>
                <a:gd name="T0" fmla="*/ 10 w 20"/>
                <a:gd name="T1" fmla="*/ 21 h 21"/>
                <a:gd name="T2" fmla="*/ 0 w 20"/>
                <a:gd name="T3" fmla="*/ 10 h 21"/>
                <a:gd name="T4" fmla="*/ 10 w 20"/>
                <a:gd name="T5" fmla="*/ 0 h 21"/>
                <a:gd name="T6" fmla="*/ 20 w 20"/>
                <a:gd name="T7" fmla="*/ 10 h 21"/>
                <a:gd name="T8" fmla="*/ 10 w 20"/>
                <a:gd name="T9" fmla="*/ 21 h 21"/>
                <a:gd name="T10" fmla="*/ 10 w 20"/>
                <a:gd name="T11" fmla="*/ 4 h 21"/>
                <a:gd name="T12" fmla="*/ 4 w 20"/>
                <a:gd name="T13" fmla="*/ 10 h 21"/>
                <a:gd name="T14" fmla="*/ 10 w 20"/>
                <a:gd name="T15" fmla="*/ 16 h 21"/>
                <a:gd name="T16" fmla="*/ 16 w 20"/>
                <a:gd name="T17" fmla="*/ 10 h 21"/>
                <a:gd name="T18" fmla="*/ 10 w 20"/>
                <a:gd name="T19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1">
                  <a:moveTo>
                    <a:pt x="10" y="21"/>
                  </a:moveTo>
                  <a:cubicBezTo>
                    <a:pt x="4" y="21"/>
                    <a:pt x="0" y="16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16" y="0"/>
                    <a:pt x="20" y="5"/>
                    <a:pt x="20" y="10"/>
                  </a:cubicBezTo>
                  <a:cubicBezTo>
                    <a:pt x="20" y="16"/>
                    <a:pt x="16" y="21"/>
                    <a:pt x="10" y="21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14"/>
                    <a:pt x="7" y="16"/>
                    <a:pt x="10" y="16"/>
                  </a:cubicBezTo>
                  <a:cubicBezTo>
                    <a:pt x="13" y="16"/>
                    <a:pt x="16" y="14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201" name="ísḻiḍè">
              <a:extLst>
                <a:ext uri="{FF2B5EF4-FFF2-40B4-BE49-F238E27FC236}">
                  <a16:creationId xmlns:a16="http://schemas.microsoft.com/office/drawing/2014/main" id="{863C11CD-183B-4916-AEB5-4A5960E67DFA}"/>
                </a:ext>
              </a:extLst>
            </p:cNvPr>
            <p:cNvSpPr/>
            <p:nvPr/>
          </p:nvSpPr>
          <p:spPr bwMode="auto">
            <a:xfrm>
              <a:off x="9136370" y="2389114"/>
              <a:ext cx="85387" cy="87420"/>
            </a:xfrm>
            <a:custGeom>
              <a:avLst/>
              <a:gdLst>
                <a:gd name="T0" fmla="*/ 10 w 20"/>
                <a:gd name="T1" fmla="*/ 21 h 21"/>
                <a:gd name="T2" fmla="*/ 0 w 20"/>
                <a:gd name="T3" fmla="*/ 10 h 21"/>
                <a:gd name="T4" fmla="*/ 10 w 20"/>
                <a:gd name="T5" fmla="*/ 0 h 21"/>
                <a:gd name="T6" fmla="*/ 20 w 20"/>
                <a:gd name="T7" fmla="*/ 10 h 21"/>
                <a:gd name="T8" fmla="*/ 10 w 20"/>
                <a:gd name="T9" fmla="*/ 21 h 21"/>
                <a:gd name="T10" fmla="*/ 10 w 20"/>
                <a:gd name="T11" fmla="*/ 4 h 21"/>
                <a:gd name="T12" fmla="*/ 4 w 20"/>
                <a:gd name="T13" fmla="*/ 10 h 21"/>
                <a:gd name="T14" fmla="*/ 10 w 20"/>
                <a:gd name="T15" fmla="*/ 16 h 21"/>
                <a:gd name="T16" fmla="*/ 16 w 20"/>
                <a:gd name="T17" fmla="*/ 10 h 21"/>
                <a:gd name="T18" fmla="*/ 10 w 20"/>
                <a:gd name="T19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1">
                  <a:moveTo>
                    <a:pt x="10" y="21"/>
                  </a:moveTo>
                  <a:cubicBezTo>
                    <a:pt x="4" y="21"/>
                    <a:pt x="0" y="16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16" y="0"/>
                    <a:pt x="20" y="5"/>
                    <a:pt x="20" y="10"/>
                  </a:cubicBezTo>
                  <a:cubicBezTo>
                    <a:pt x="20" y="16"/>
                    <a:pt x="16" y="21"/>
                    <a:pt x="10" y="21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14"/>
                    <a:pt x="7" y="16"/>
                    <a:pt x="10" y="16"/>
                  </a:cubicBezTo>
                  <a:cubicBezTo>
                    <a:pt x="13" y="16"/>
                    <a:pt x="16" y="14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202" name="ïşľîḋê">
              <a:extLst>
                <a:ext uri="{FF2B5EF4-FFF2-40B4-BE49-F238E27FC236}">
                  <a16:creationId xmlns:a16="http://schemas.microsoft.com/office/drawing/2014/main" id="{58C6BD0C-EB95-451E-AA64-FAF88ECC807F}"/>
                </a:ext>
              </a:extLst>
            </p:cNvPr>
            <p:cNvSpPr/>
            <p:nvPr/>
          </p:nvSpPr>
          <p:spPr bwMode="auto">
            <a:xfrm>
              <a:off x="3470364" y="1649098"/>
              <a:ext cx="191103" cy="180939"/>
            </a:xfrm>
            <a:custGeom>
              <a:avLst/>
              <a:gdLst>
                <a:gd name="T0" fmla="*/ 39 w 45"/>
                <a:gd name="T1" fmla="*/ 16 h 43"/>
                <a:gd name="T2" fmla="*/ 39 w 45"/>
                <a:gd name="T3" fmla="*/ 16 h 43"/>
                <a:gd name="T4" fmla="*/ 39 w 45"/>
                <a:gd name="T5" fmla="*/ 16 h 43"/>
                <a:gd name="T6" fmla="*/ 38 w 45"/>
                <a:gd name="T7" fmla="*/ 16 h 43"/>
                <a:gd name="T8" fmla="*/ 38 w 45"/>
                <a:gd name="T9" fmla="*/ 16 h 43"/>
                <a:gd name="T10" fmla="*/ 28 w 45"/>
                <a:gd name="T11" fmla="*/ 16 h 43"/>
                <a:gd name="T12" fmla="*/ 22 w 45"/>
                <a:gd name="T13" fmla="*/ 0 h 43"/>
                <a:gd name="T14" fmla="*/ 16 w 45"/>
                <a:gd name="T15" fmla="*/ 16 h 43"/>
                <a:gd name="T16" fmla="*/ 0 w 45"/>
                <a:gd name="T17" fmla="*/ 21 h 43"/>
                <a:gd name="T18" fmla="*/ 16 w 45"/>
                <a:gd name="T19" fmla="*/ 27 h 43"/>
                <a:gd name="T20" fmla="*/ 22 w 45"/>
                <a:gd name="T21" fmla="*/ 43 h 43"/>
                <a:gd name="T22" fmla="*/ 28 w 45"/>
                <a:gd name="T23" fmla="*/ 27 h 43"/>
                <a:gd name="T24" fmla="*/ 39 w 45"/>
                <a:gd name="T25" fmla="*/ 27 h 43"/>
                <a:gd name="T26" fmla="*/ 39 w 45"/>
                <a:gd name="T27" fmla="*/ 1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43">
                  <a:moveTo>
                    <a:pt x="39" y="16"/>
                  </a:moveTo>
                  <a:cubicBezTo>
                    <a:pt x="39" y="16"/>
                    <a:pt x="39" y="16"/>
                    <a:pt x="39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5" y="16"/>
                    <a:pt x="31" y="16"/>
                    <a:pt x="28" y="16"/>
                  </a:cubicBezTo>
                  <a:cubicBezTo>
                    <a:pt x="28" y="10"/>
                    <a:pt x="29" y="0"/>
                    <a:pt x="22" y="0"/>
                  </a:cubicBezTo>
                  <a:cubicBezTo>
                    <a:pt x="15" y="0"/>
                    <a:pt x="16" y="10"/>
                    <a:pt x="16" y="16"/>
                  </a:cubicBezTo>
                  <a:cubicBezTo>
                    <a:pt x="10" y="15"/>
                    <a:pt x="0" y="14"/>
                    <a:pt x="0" y="21"/>
                  </a:cubicBezTo>
                  <a:cubicBezTo>
                    <a:pt x="0" y="28"/>
                    <a:pt x="10" y="28"/>
                    <a:pt x="16" y="27"/>
                  </a:cubicBezTo>
                  <a:cubicBezTo>
                    <a:pt x="16" y="33"/>
                    <a:pt x="15" y="43"/>
                    <a:pt x="22" y="43"/>
                  </a:cubicBezTo>
                  <a:cubicBezTo>
                    <a:pt x="29" y="43"/>
                    <a:pt x="28" y="33"/>
                    <a:pt x="28" y="27"/>
                  </a:cubicBezTo>
                  <a:cubicBezTo>
                    <a:pt x="32" y="27"/>
                    <a:pt x="36" y="28"/>
                    <a:pt x="39" y="27"/>
                  </a:cubicBezTo>
                  <a:cubicBezTo>
                    <a:pt x="45" y="25"/>
                    <a:pt x="44" y="18"/>
                    <a:pt x="39" y="16"/>
                  </a:cubicBez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203" name="îŝlíďe">
              <a:extLst>
                <a:ext uri="{FF2B5EF4-FFF2-40B4-BE49-F238E27FC236}">
                  <a16:creationId xmlns:a16="http://schemas.microsoft.com/office/drawing/2014/main" id="{47866F94-C2B1-4E97-9069-865352501B43}"/>
                </a:ext>
              </a:extLst>
            </p:cNvPr>
            <p:cNvSpPr/>
            <p:nvPr/>
          </p:nvSpPr>
          <p:spPr bwMode="auto">
            <a:xfrm>
              <a:off x="2823866" y="2527359"/>
              <a:ext cx="144345" cy="140279"/>
            </a:xfrm>
            <a:custGeom>
              <a:avLst/>
              <a:gdLst>
                <a:gd name="T0" fmla="*/ 29 w 34"/>
                <a:gd name="T1" fmla="*/ 12 h 33"/>
                <a:gd name="T2" fmla="*/ 29 w 34"/>
                <a:gd name="T3" fmla="*/ 12 h 33"/>
                <a:gd name="T4" fmla="*/ 29 w 34"/>
                <a:gd name="T5" fmla="*/ 12 h 33"/>
                <a:gd name="T6" fmla="*/ 28 w 34"/>
                <a:gd name="T7" fmla="*/ 12 h 33"/>
                <a:gd name="T8" fmla="*/ 28 w 34"/>
                <a:gd name="T9" fmla="*/ 12 h 33"/>
                <a:gd name="T10" fmla="*/ 20 w 34"/>
                <a:gd name="T11" fmla="*/ 12 h 33"/>
                <a:gd name="T12" fmla="*/ 16 w 34"/>
                <a:gd name="T13" fmla="*/ 0 h 33"/>
                <a:gd name="T14" fmla="*/ 12 w 34"/>
                <a:gd name="T15" fmla="*/ 12 h 33"/>
                <a:gd name="T16" fmla="*/ 0 w 34"/>
                <a:gd name="T17" fmla="*/ 16 h 33"/>
                <a:gd name="T18" fmla="*/ 12 w 34"/>
                <a:gd name="T19" fmla="*/ 21 h 33"/>
                <a:gd name="T20" fmla="*/ 16 w 34"/>
                <a:gd name="T21" fmla="*/ 33 h 33"/>
                <a:gd name="T22" fmla="*/ 20 w 34"/>
                <a:gd name="T23" fmla="*/ 21 h 33"/>
                <a:gd name="T24" fmla="*/ 29 w 34"/>
                <a:gd name="T25" fmla="*/ 20 h 33"/>
                <a:gd name="T26" fmla="*/ 29 w 34"/>
                <a:gd name="T27" fmla="*/ 1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3">
                  <a:moveTo>
                    <a:pt x="29" y="12"/>
                  </a:move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5" y="12"/>
                    <a:pt x="23" y="12"/>
                    <a:pt x="20" y="12"/>
                  </a:cubicBezTo>
                  <a:cubicBezTo>
                    <a:pt x="21" y="8"/>
                    <a:pt x="21" y="0"/>
                    <a:pt x="16" y="0"/>
                  </a:cubicBezTo>
                  <a:cubicBezTo>
                    <a:pt x="11" y="0"/>
                    <a:pt x="11" y="8"/>
                    <a:pt x="12" y="12"/>
                  </a:cubicBezTo>
                  <a:cubicBezTo>
                    <a:pt x="7" y="12"/>
                    <a:pt x="0" y="11"/>
                    <a:pt x="0" y="16"/>
                  </a:cubicBezTo>
                  <a:cubicBezTo>
                    <a:pt x="0" y="22"/>
                    <a:pt x="7" y="21"/>
                    <a:pt x="12" y="21"/>
                  </a:cubicBezTo>
                  <a:cubicBezTo>
                    <a:pt x="11" y="25"/>
                    <a:pt x="11" y="33"/>
                    <a:pt x="16" y="33"/>
                  </a:cubicBezTo>
                  <a:cubicBezTo>
                    <a:pt x="21" y="33"/>
                    <a:pt x="21" y="25"/>
                    <a:pt x="20" y="21"/>
                  </a:cubicBezTo>
                  <a:cubicBezTo>
                    <a:pt x="23" y="21"/>
                    <a:pt x="27" y="21"/>
                    <a:pt x="29" y="20"/>
                  </a:cubicBezTo>
                  <a:cubicBezTo>
                    <a:pt x="34" y="19"/>
                    <a:pt x="33" y="14"/>
                    <a:pt x="29" y="12"/>
                  </a:cubicBezTo>
                  <a:close/>
                </a:path>
              </a:pathLst>
            </a:cu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204" name="iṧļíḓe">
              <a:extLst>
                <a:ext uri="{FF2B5EF4-FFF2-40B4-BE49-F238E27FC236}">
                  <a16:creationId xmlns:a16="http://schemas.microsoft.com/office/drawing/2014/main" id="{7BD57E94-C37C-490E-822E-719E202861B8}"/>
                </a:ext>
              </a:extLst>
            </p:cNvPr>
            <p:cNvSpPr/>
            <p:nvPr/>
          </p:nvSpPr>
          <p:spPr bwMode="auto">
            <a:xfrm>
              <a:off x="3289425" y="2252903"/>
              <a:ext cx="87420" cy="85387"/>
            </a:xfrm>
            <a:custGeom>
              <a:avLst/>
              <a:gdLst>
                <a:gd name="T0" fmla="*/ 10 w 21"/>
                <a:gd name="T1" fmla="*/ 20 h 20"/>
                <a:gd name="T2" fmla="*/ 0 w 21"/>
                <a:gd name="T3" fmla="*/ 10 h 20"/>
                <a:gd name="T4" fmla="*/ 10 w 21"/>
                <a:gd name="T5" fmla="*/ 0 h 20"/>
                <a:gd name="T6" fmla="*/ 21 w 21"/>
                <a:gd name="T7" fmla="*/ 10 h 20"/>
                <a:gd name="T8" fmla="*/ 10 w 21"/>
                <a:gd name="T9" fmla="*/ 20 h 20"/>
                <a:gd name="T10" fmla="*/ 10 w 21"/>
                <a:gd name="T11" fmla="*/ 4 h 20"/>
                <a:gd name="T12" fmla="*/ 4 w 21"/>
                <a:gd name="T13" fmla="*/ 10 h 20"/>
                <a:gd name="T14" fmla="*/ 10 w 21"/>
                <a:gd name="T15" fmla="*/ 16 h 20"/>
                <a:gd name="T16" fmla="*/ 16 w 21"/>
                <a:gd name="T17" fmla="*/ 10 h 20"/>
                <a:gd name="T18" fmla="*/ 10 w 21"/>
                <a:gd name="T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0">
                  <a:moveTo>
                    <a:pt x="10" y="20"/>
                  </a:moveTo>
                  <a:cubicBezTo>
                    <a:pt x="4" y="20"/>
                    <a:pt x="0" y="16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1" y="4"/>
                    <a:pt x="21" y="10"/>
                  </a:cubicBezTo>
                  <a:cubicBezTo>
                    <a:pt x="21" y="16"/>
                    <a:pt x="16" y="20"/>
                    <a:pt x="10" y="20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13"/>
                    <a:pt x="7" y="16"/>
                    <a:pt x="10" y="16"/>
                  </a:cubicBezTo>
                  <a:cubicBezTo>
                    <a:pt x="13" y="16"/>
                    <a:pt x="16" y="13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205" name="iṣḷîḑe">
              <a:extLst>
                <a:ext uri="{FF2B5EF4-FFF2-40B4-BE49-F238E27FC236}">
                  <a16:creationId xmlns:a16="http://schemas.microsoft.com/office/drawing/2014/main" id="{67472D55-462E-45DE-94D8-14A71031F548}"/>
                </a:ext>
              </a:extLst>
            </p:cNvPr>
            <p:cNvSpPr/>
            <p:nvPr/>
          </p:nvSpPr>
          <p:spPr bwMode="auto">
            <a:xfrm>
              <a:off x="2968209" y="1897125"/>
              <a:ext cx="89453" cy="85387"/>
            </a:xfrm>
            <a:custGeom>
              <a:avLst/>
              <a:gdLst>
                <a:gd name="T0" fmla="*/ 10 w 21"/>
                <a:gd name="T1" fmla="*/ 20 h 20"/>
                <a:gd name="T2" fmla="*/ 0 w 21"/>
                <a:gd name="T3" fmla="*/ 10 h 20"/>
                <a:gd name="T4" fmla="*/ 10 w 21"/>
                <a:gd name="T5" fmla="*/ 0 h 20"/>
                <a:gd name="T6" fmla="*/ 21 w 21"/>
                <a:gd name="T7" fmla="*/ 10 h 20"/>
                <a:gd name="T8" fmla="*/ 10 w 21"/>
                <a:gd name="T9" fmla="*/ 20 h 20"/>
                <a:gd name="T10" fmla="*/ 10 w 21"/>
                <a:gd name="T11" fmla="*/ 4 h 20"/>
                <a:gd name="T12" fmla="*/ 4 w 21"/>
                <a:gd name="T13" fmla="*/ 10 h 20"/>
                <a:gd name="T14" fmla="*/ 10 w 21"/>
                <a:gd name="T15" fmla="*/ 16 h 20"/>
                <a:gd name="T16" fmla="*/ 16 w 21"/>
                <a:gd name="T17" fmla="*/ 10 h 20"/>
                <a:gd name="T18" fmla="*/ 10 w 21"/>
                <a:gd name="T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0">
                  <a:moveTo>
                    <a:pt x="10" y="20"/>
                  </a:moveTo>
                  <a:cubicBezTo>
                    <a:pt x="5" y="20"/>
                    <a:pt x="0" y="16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6" y="0"/>
                    <a:pt x="21" y="4"/>
                    <a:pt x="21" y="10"/>
                  </a:cubicBezTo>
                  <a:cubicBezTo>
                    <a:pt x="21" y="16"/>
                    <a:pt x="16" y="20"/>
                    <a:pt x="10" y="20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13"/>
                    <a:pt x="7" y="16"/>
                    <a:pt x="10" y="16"/>
                  </a:cubicBezTo>
                  <a:cubicBezTo>
                    <a:pt x="14" y="16"/>
                    <a:pt x="16" y="13"/>
                    <a:pt x="16" y="10"/>
                  </a:cubicBezTo>
                  <a:cubicBezTo>
                    <a:pt x="16" y="7"/>
                    <a:pt x="14" y="4"/>
                    <a:pt x="10" y="4"/>
                  </a:cubicBezTo>
                  <a:close/>
                </a:path>
              </a:pathLst>
            </a:cu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206" name="iṧľïḍê">
              <a:extLst>
                <a:ext uri="{FF2B5EF4-FFF2-40B4-BE49-F238E27FC236}">
                  <a16:creationId xmlns:a16="http://schemas.microsoft.com/office/drawing/2014/main" id="{A41E2BD3-858E-486C-B467-844F30E41233}"/>
                </a:ext>
              </a:extLst>
            </p:cNvPr>
            <p:cNvSpPr/>
            <p:nvPr/>
          </p:nvSpPr>
          <p:spPr bwMode="auto">
            <a:xfrm>
              <a:off x="4700336" y="3086438"/>
              <a:ext cx="89453" cy="87420"/>
            </a:xfrm>
            <a:custGeom>
              <a:avLst/>
              <a:gdLst>
                <a:gd name="T0" fmla="*/ 11 w 21"/>
                <a:gd name="T1" fmla="*/ 21 h 21"/>
                <a:gd name="T2" fmla="*/ 0 w 21"/>
                <a:gd name="T3" fmla="*/ 10 h 21"/>
                <a:gd name="T4" fmla="*/ 11 w 21"/>
                <a:gd name="T5" fmla="*/ 0 h 21"/>
                <a:gd name="T6" fmla="*/ 21 w 21"/>
                <a:gd name="T7" fmla="*/ 10 h 21"/>
                <a:gd name="T8" fmla="*/ 11 w 21"/>
                <a:gd name="T9" fmla="*/ 21 h 21"/>
                <a:gd name="T10" fmla="*/ 11 w 21"/>
                <a:gd name="T11" fmla="*/ 4 h 21"/>
                <a:gd name="T12" fmla="*/ 5 w 21"/>
                <a:gd name="T13" fmla="*/ 10 h 21"/>
                <a:gd name="T14" fmla="*/ 11 w 21"/>
                <a:gd name="T15" fmla="*/ 17 h 21"/>
                <a:gd name="T16" fmla="*/ 17 w 21"/>
                <a:gd name="T17" fmla="*/ 10 h 21"/>
                <a:gd name="T18" fmla="*/ 11 w 21"/>
                <a:gd name="T19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1">
                  <a:moveTo>
                    <a:pt x="11" y="21"/>
                  </a:moveTo>
                  <a:cubicBezTo>
                    <a:pt x="5" y="21"/>
                    <a:pt x="0" y="16"/>
                    <a:pt x="0" y="10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1" y="5"/>
                    <a:pt x="21" y="10"/>
                  </a:cubicBezTo>
                  <a:cubicBezTo>
                    <a:pt x="21" y="16"/>
                    <a:pt x="17" y="21"/>
                    <a:pt x="11" y="21"/>
                  </a:cubicBezTo>
                  <a:close/>
                  <a:moveTo>
                    <a:pt x="11" y="4"/>
                  </a:moveTo>
                  <a:cubicBezTo>
                    <a:pt x="7" y="4"/>
                    <a:pt x="5" y="7"/>
                    <a:pt x="5" y="10"/>
                  </a:cubicBezTo>
                  <a:cubicBezTo>
                    <a:pt x="5" y="14"/>
                    <a:pt x="7" y="17"/>
                    <a:pt x="11" y="17"/>
                  </a:cubicBezTo>
                  <a:cubicBezTo>
                    <a:pt x="14" y="17"/>
                    <a:pt x="17" y="14"/>
                    <a:pt x="17" y="10"/>
                  </a:cubicBezTo>
                  <a:cubicBezTo>
                    <a:pt x="17" y="7"/>
                    <a:pt x="14" y="4"/>
                    <a:pt x="11" y="4"/>
                  </a:cubicBezTo>
                  <a:close/>
                </a:path>
              </a:pathLst>
            </a:custGeom>
            <a:solidFill>
              <a:srgbClr val="000D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207" name="iS1iďe">
              <a:extLst>
                <a:ext uri="{FF2B5EF4-FFF2-40B4-BE49-F238E27FC236}">
                  <a16:creationId xmlns:a16="http://schemas.microsoft.com/office/drawing/2014/main" id="{E69FBF1E-DE15-4A95-B98C-8DB8CC55F2C9}"/>
                </a:ext>
              </a:extLst>
            </p:cNvPr>
            <p:cNvSpPr/>
            <p:nvPr/>
          </p:nvSpPr>
          <p:spPr bwMode="auto">
            <a:xfrm>
              <a:off x="5363098" y="2189879"/>
              <a:ext cx="481825" cy="528583"/>
            </a:xfrm>
            <a:custGeom>
              <a:avLst/>
              <a:gdLst>
                <a:gd name="T0" fmla="*/ 102 w 114"/>
                <a:gd name="T1" fmla="*/ 84 h 125"/>
                <a:gd name="T2" fmla="*/ 94 w 114"/>
                <a:gd name="T3" fmla="*/ 87 h 125"/>
                <a:gd name="T4" fmla="*/ 87 w 114"/>
                <a:gd name="T5" fmla="*/ 80 h 125"/>
                <a:gd name="T6" fmla="*/ 94 w 114"/>
                <a:gd name="T7" fmla="*/ 59 h 125"/>
                <a:gd name="T8" fmla="*/ 78 w 114"/>
                <a:gd name="T9" fmla="*/ 31 h 125"/>
                <a:gd name="T10" fmla="*/ 86 w 114"/>
                <a:gd name="T11" fmla="*/ 17 h 125"/>
                <a:gd name="T12" fmla="*/ 89 w 114"/>
                <a:gd name="T13" fmla="*/ 18 h 125"/>
                <a:gd name="T14" fmla="*/ 98 w 114"/>
                <a:gd name="T15" fmla="*/ 9 h 125"/>
                <a:gd name="T16" fmla="*/ 89 w 114"/>
                <a:gd name="T17" fmla="*/ 0 h 125"/>
                <a:gd name="T18" fmla="*/ 80 w 114"/>
                <a:gd name="T19" fmla="*/ 9 h 125"/>
                <a:gd name="T20" fmla="*/ 83 w 114"/>
                <a:gd name="T21" fmla="*/ 15 h 125"/>
                <a:gd name="T22" fmla="*/ 75 w 114"/>
                <a:gd name="T23" fmla="*/ 30 h 125"/>
                <a:gd name="T24" fmla="*/ 61 w 114"/>
                <a:gd name="T25" fmla="*/ 27 h 125"/>
                <a:gd name="T26" fmla="*/ 41 w 114"/>
                <a:gd name="T27" fmla="*/ 33 h 125"/>
                <a:gd name="T28" fmla="*/ 34 w 114"/>
                <a:gd name="T29" fmla="*/ 24 h 125"/>
                <a:gd name="T30" fmla="*/ 37 w 114"/>
                <a:gd name="T31" fmla="*/ 16 h 125"/>
                <a:gd name="T32" fmla="*/ 24 w 114"/>
                <a:gd name="T33" fmla="*/ 3 h 125"/>
                <a:gd name="T34" fmla="*/ 11 w 114"/>
                <a:gd name="T35" fmla="*/ 16 h 125"/>
                <a:gd name="T36" fmla="*/ 24 w 114"/>
                <a:gd name="T37" fmla="*/ 29 h 125"/>
                <a:gd name="T38" fmla="*/ 32 w 114"/>
                <a:gd name="T39" fmla="*/ 26 h 125"/>
                <a:gd name="T40" fmla="*/ 39 w 114"/>
                <a:gd name="T41" fmla="*/ 36 h 125"/>
                <a:gd name="T42" fmla="*/ 29 w 114"/>
                <a:gd name="T43" fmla="*/ 59 h 125"/>
                <a:gd name="T44" fmla="*/ 29 w 114"/>
                <a:gd name="T45" fmla="*/ 60 h 125"/>
                <a:gd name="T46" fmla="*/ 20 w 114"/>
                <a:gd name="T47" fmla="*/ 60 h 125"/>
                <a:gd name="T48" fmla="*/ 10 w 114"/>
                <a:gd name="T49" fmla="*/ 52 h 125"/>
                <a:gd name="T50" fmla="*/ 0 w 114"/>
                <a:gd name="T51" fmla="*/ 63 h 125"/>
                <a:gd name="T52" fmla="*/ 10 w 114"/>
                <a:gd name="T53" fmla="*/ 73 h 125"/>
                <a:gd name="T54" fmla="*/ 21 w 114"/>
                <a:gd name="T55" fmla="*/ 63 h 125"/>
                <a:gd name="T56" fmla="*/ 29 w 114"/>
                <a:gd name="T57" fmla="*/ 63 h 125"/>
                <a:gd name="T58" fmla="*/ 49 w 114"/>
                <a:gd name="T59" fmla="*/ 90 h 125"/>
                <a:gd name="T60" fmla="*/ 47 w 114"/>
                <a:gd name="T61" fmla="*/ 96 h 125"/>
                <a:gd name="T62" fmla="*/ 41 w 114"/>
                <a:gd name="T63" fmla="*/ 95 h 125"/>
                <a:gd name="T64" fmla="*/ 26 w 114"/>
                <a:gd name="T65" fmla="*/ 110 h 125"/>
                <a:gd name="T66" fmla="*/ 41 w 114"/>
                <a:gd name="T67" fmla="*/ 125 h 125"/>
                <a:gd name="T68" fmla="*/ 56 w 114"/>
                <a:gd name="T69" fmla="*/ 110 h 125"/>
                <a:gd name="T70" fmla="*/ 49 w 114"/>
                <a:gd name="T71" fmla="*/ 97 h 125"/>
                <a:gd name="T72" fmla="*/ 52 w 114"/>
                <a:gd name="T73" fmla="*/ 91 h 125"/>
                <a:gd name="T74" fmla="*/ 61 w 114"/>
                <a:gd name="T75" fmla="*/ 92 h 125"/>
                <a:gd name="T76" fmla="*/ 85 w 114"/>
                <a:gd name="T77" fmla="*/ 82 h 125"/>
                <a:gd name="T78" fmla="*/ 92 w 114"/>
                <a:gd name="T79" fmla="*/ 89 h 125"/>
                <a:gd name="T80" fmla="*/ 90 w 114"/>
                <a:gd name="T81" fmla="*/ 96 h 125"/>
                <a:gd name="T82" fmla="*/ 102 w 114"/>
                <a:gd name="T83" fmla="*/ 108 h 125"/>
                <a:gd name="T84" fmla="*/ 114 w 114"/>
                <a:gd name="T85" fmla="*/ 96 h 125"/>
                <a:gd name="T86" fmla="*/ 102 w 114"/>
                <a:gd name="T87" fmla="*/ 8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4" h="125">
                  <a:moveTo>
                    <a:pt x="102" y="84"/>
                  </a:moveTo>
                  <a:cubicBezTo>
                    <a:pt x="99" y="84"/>
                    <a:pt x="96" y="85"/>
                    <a:pt x="94" y="87"/>
                  </a:cubicBezTo>
                  <a:cubicBezTo>
                    <a:pt x="87" y="80"/>
                    <a:pt x="87" y="80"/>
                    <a:pt x="87" y="80"/>
                  </a:cubicBezTo>
                  <a:cubicBezTo>
                    <a:pt x="92" y="74"/>
                    <a:pt x="94" y="67"/>
                    <a:pt x="94" y="59"/>
                  </a:cubicBezTo>
                  <a:cubicBezTo>
                    <a:pt x="94" y="47"/>
                    <a:pt x="88" y="37"/>
                    <a:pt x="78" y="31"/>
                  </a:cubicBezTo>
                  <a:cubicBezTo>
                    <a:pt x="86" y="17"/>
                    <a:pt x="86" y="17"/>
                    <a:pt x="86" y="17"/>
                  </a:cubicBezTo>
                  <a:cubicBezTo>
                    <a:pt x="87" y="17"/>
                    <a:pt x="88" y="18"/>
                    <a:pt x="89" y="18"/>
                  </a:cubicBezTo>
                  <a:cubicBezTo>
                    <a:pt x="94" y="18"/>
                    <a:pt x="98" y="14"/>
                    <a:pt x="98" y="9"/>
                  </a:cubicBezTo>
                  <a:cubicBezTo>
                    <a:pt x="98" y="4"/>
                    <a:pt x="94" y="0"/>
                    <a:pt x="89" y="0"/>
                  </a:cubicBezTo>
                  <a:cubicBezTo>
                    <a:pt x="84" y="0"/>
                    <a:pt x="80" y="4"/>
                    <a:pt x="80" y="9"/>
                  </a:cubicBezTo>
                  <a:cubicBezTo>
                    <a:pt x="80" y="11"/>
                    <a:pt x="81" y="14"/>
                    <a:pt x="83" y="15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1" y="28"/>
                    <a:pt x="66" y="27"/>
                    <a:pt x="61" y="27"/>
                  </a:cubicBezTo>
                  <a:cubicBezTo>
                    <a:pt x="54" y="27"/>
                    <a:pt x="47" y="29"/>
                    <a:pt x="41" y="33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6" y="22"/>
                    <a:pt x="37" y="19"/>
                    <a:pt x="37" y="16"/>
                  </a:cubicBezTo>
                  <a:cubicBezTo>
                    <a:pt x="37" y="9"/>
                    <a:pt x="31" y="3"/>
                    <a:pt x="24" y="3"/>
                  </a:cubicBezTo>
                  <a:cubicBezTo>
                    <a:pt x="17" y="3"/>
                    <a:pt x="11" y="9"/>
                    <a:pt x="11" y="16"/>
                  </a:cubicBezTo>
                  <a:cubicBezTo>
                    <a:pt x="11" y="23"/>
                    <a:pt x="17" y="29"/>
                    <a:pt x="24" y="29"/>
                  </a:cubicBezTo>
                  <a:cubicBezTo>
                    <a:pt x="27" y="29"/>
                    <a:pt x="29" y="28"/>
                    <a:pt x="32" y="26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32" y="42"/>
                    <a:pt x="29" y="50"/>
                    <a:pt x="29" y="59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19" y="56"/>
                    <a:pt x="15" y="52"/>
                    <a:pt x="10" y="52"/>
                  </a:cubicBezTo>
                  <a:cubicBezTo>
                    <a:pt x="4" y="52"/>
                    <a:pt x="0" y="57"/>
                    <a:pt x="0" y="63"/>
                  </a:cubicBezTo>
                  <a:cubicBezTo>
                    <a:pt x="0" y="69"/>
                    <a:pt x="4" y="73"/>
                    <a:pt x="10" y="73"/>
                  </a:cubicBezTo>
                  <a:cubicBezTo>
                    <a:pt x="16" y="73"/>
                    <a:pt x="21" y="69"/>
                    <a:pt x="21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30" y="75"/>
                    <a:pt x="38" y="86"/>
                    <a:pt x="49" y="90"/>
                  </a:cubicBezTo>
                  <a:cubicBezTo>
                    <a:pt x="47" y="96"/>
                    <a:pt x="47" y="96"/>
                    <a:pt x="47" y="96"/>
                  </a:cubicBezTo>
                  <a:cubicBezTo>
                    <a:pt x="45" y="95"/>
                    <a:pt x="43" y="95"/>
                    <a:pt x="41" y="95"/>
                  </a:cubicBezTo>
                  <a:cubicBezTo>
                    <a:pt x="33" y="95"/>
                    <a:pt x="26" y="101"/>
                    <a:pt x="26" y="110"/>
                  </a:cubicBezTo>
                  <a:cubicBezTo>
                    <a:pt x="26" y="118"/>
                    <a:pt x="33" y="125"/>
                    <a:pt x="41" y="125"/>
                  </a:cubicBezTo>
                  <a:cubicBezTo>
                    <a:pt x="50" y="125"/>
                    <a:pt x="56" y="118"/>
                    <a:pt x="56" y="110"/>
                  </a:cubicBezTo>
                  <a:cubicBezTo>
                    <a:pt x="56" y="105"/>
                    <a:pt x="54" y="100"/>
                    <a:pt x="49" y="97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5" y="92"/>
                    <a:pt x="58" y="92"/>
                    <a:pt x="61" y="92"/>
                  </a:cubicBezTo>
                  <a:cubicBezTo>
                    <a:pt x="71" y="92"/>
                    <a:pt x="79" y="88"/>
                    <a:pt x="85" y="82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1" y="91"/>
                    <a:pt x="90" y="93"/>
                    <a:pt x="90" y="96"/>
                  </a:cubicBezTo>
                  <a:cubicBezTo>
                    <a:pt x="90" y="103"/>
                    <a:pt x="95" y="108"/>
                    <a:pt x="102" y="108"/>
                  </a:cubicBezTo>
                  <a:cubicBezTo>
                    <a:pt x="109" y="108"/>
                    <a:pt x="114" y="103"/>
                    <a:pt x="114" y="96"/>
                  </a:cubicBezTo>
                  <a:cubicBezTo>
                    <a:pt x="114" y="89"/>
                    <a:pt x="109" y="84"/>
                    <a:pt x="102" y="84"/>
                  </a:cubicBezTo>
                  <a:close/>
                </a:path>
              </a:pathLst>
            </a:custGeom>
            <a:solidFill>
              <a:srgbClr val="E429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208" name="iṥ1îḋê">
              <a:extLst>
                <a:ext uri="{FF2B5EF4-FFF2-40B4-BE49-F238E27FC236}">
                  <a16:creationId xmlns:a16="http://schemas.microsoft.com/office/drawing/2014/main" id="{B04CA959-B3F1-4A7F-9BD6-1F3EA6E641C1}"/>
                </a:ext>
              </a:extLst>
            </p:cNvPr>
            <p:cNvSpPr/>
            <p:nvPr/>
          </p:nvSpPr>
          <p:spPr bwMode="auto">
            <a:xfrm>
              <a:off x="7548587" y="2925830"/>
              <a:ext cx="211433" cy="211433"/>
            </a:xfrm>
            <a:custGeom>
              <a:avLst/>
              <a:gdLst>
                <a:gd name="T0" fmla="*/ 50 w 50"/>
                <a:gd name="T1" fmla="*/ 28 h 50"/>
                <a:gd name="T2" fmla="*/ 50 w 50"/>
                <a:gd name="T3" fmla="*/ 22 h 50"/>
                <a:gd name="T4" fmla="*/ 42 w 50"/>
                <a:gd name="T5" fmla="*/ 21 h 50"/>
                <a:gd name="T6" fmla="*/ 40 w 50"/>
                <a:gd name="T7" fmla="*/ 16 h 50"/>
                <a:gd name="T8" fmla="*/ 44 w 50"/>
                <a:gd name="T9" fmla="*/ 10 h 50"/>
                <a:gd name="T10" fmla="*/ 40 w 50"/>
                <a:gd name="T11" fmla="*/ 6 h 50"/>
                <a:gd name="T12" fmla="*/ 34 w 50"/>
                <a:gd name="T13" fmla="*/ 9 h 50"/>
                <a:gd name="T14" fmla="*/ 29 w 50"/>
                <a:gd name="T15" fmla="*/ 7 h 50"/>
                <a:gd name="T16" fmla="*/ 28 w 50"/>
                <a:gd name="T17" fmla="*/ 0 h 50"/>
                <a:gd name="T18" fmla="*/ 22 w 50"/>
                <a:gd name="T19" fmla="*/ 0 h 50"/>
                <a:gd name="T20" fmla="*/ 20 w 50"/>
                <a:gd name="T21" fmla="*/ 7 h 50"/>
                <a:gd name="T22" fmla="*/ 15 w 50"/>
                <a:gd name="T23" fmla="*/ 9 h 50"/>
                <a:gd name="T24" fmla="*/ 9 w 50"/>
                <a:gd name="T25" fmla="*/ 5 h 50"/>
                <a:gd name="T26" fmla="*/ 5 w 50"/>
                <a:gd name="T27" fmla="*/ 10 h 50"/>
                <a:gd name="T28" fmla="*/ 9 w 50"/>
                <a:gd name="T29" fmla="*/ 16 h 50"/>
                <a:gd name="T30" fmla="*/ 7 w 50"/>
                <a:gd name="T31" fmla="*/ 21 h 50"/>
                <a:gd name="T32" fmla="*/ 0 w 50"/>
                <a:gd name="T33" fmla="*/ 22 h 50"/>
                <a:gd name="T34" fmla="*/ 0 w 50"/>
                <a:gd name="T35" fmla="*/ 28 h 50"/>
                <a:gd name="T36" fmla="*/ 7 w 50"/>
                <a:gd name="T37" fmla="*/ 30 h 50"/>
                <a:gd name="T38" fmla="*/ 9 w 50"/>
                <a:gd name="T39" fmla="*/ 35 h 50"/>
                <a:gd name="T40" fmla="*/ 5 w 50"/>
                <a:gd name="T41" fmla="*/ 40 h 50"/>
                <a:gd name="T42" fmla="*/ 9 w 50"/>
                <a:gd name="T43" fmla="*/ 45 h 50"/>
                <a:gd name="T44" fmla="*/ 15 w 50"/>
                <a:gd name="T45" fmla="*/ 41 h 50"/>
                <a:gd name="T46" fmla="*/ 20 w 50"/>
                <a:gd name="T47" fmla="*/ 43 h 50"/>
                <a:gd name="T48" fmla="*/ 22 w 50"/>
                <a:gd name="T49" fmla="*/ 50 h 50"/>
                <a:gd name="T50" fmla="*/ 28 w 50"/>
                <a:gd name="T51" fmla="*/ 50 h 50"/>
                <a:gd name="T52" fmla="*/ 29 w 50"/>
                <a:gd name="T53" fmla="*/ 43 h 50"/>
                <a:gd name="T54" fmla="*/ 34 w 50"/>
                <a:gd name="T55" fmla="*/ 41 h 50"/>
                <a:gd name="T56" fmla="*/ 40 w 50"/>
                <a:gd name="T57" fmla="*/ 45 h 50"/>
                <a:gd name="T58" fmla="*/ 44 w 50"/>
                <a:gd name="T59" fmla="*/ 41 h 50"/>
                <a:gd name="T60" fmla="*/ 40 w 50"/>
                <a:gd name="T61" fmla="*/ 35 h 50"/>
                <a:gd name="T62" fmla="*/ 42 w 50"/>
                <a:gd name="T63" fmla="*/ 30 h 50"/>
                <a:gd name="T64" fmla="*/ 50 w 50"/>
                <a:gd name="T65" fmla="*/ 28 h 50"/>
                <a:gd name="T66" fmla="*/ 25 w 50"/>
                <a:gd name="T67" fmla="*/ 38 h 50"/>
                <a:gd name="T68" fmla="*/ 13 w 50"/>
                <a:gd name="T69" fmla="*/ 25 h 50"/>
                <a:gd name="T70" fmla="*/ 25 w 50"/>
                <a:gd name="T71" fmla="*/ 13 h 50"/>
                <a:gd name="T72" fmla="*/ 37 w 50"/>
                <a:gd name="T73" fmla="*/ 25 h 50"/>
                <a:gd name="T74" fmla="*/ 25 w 50"/>
                <a:gd name="T75" fmla="*/ 3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0" h="50">
                  <a:moveTo>
                    <a:pt x="50" y="28"/>
                  </a:moveTo>
                  <a:cubicBezTo>
                    <a:pt x="50" y="22"/>
                    <a:pt x="50" y="22"/>
                    <a:pt x="50" y="22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19"/>
                    <a:pt x="41" y="17"/>
                    <a:pt x="40" y="16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2" y="8"/>
                    <a:pt x="31" y="8"/>
                    <a:pt x="29" y="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8" y="8"/>
                    <a:pt x="17" y="8"/>
                    <a:pt x="15" y="9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7"/>
                    <a:pt x="7" y="19"/>
                    <a:pt x="7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1"/>
                    <a:pt x="8" y="33"/>
                    <a:pt x="9" y="35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7" y="42"/>
                    <a:pt x="18" y="43"/>
                    <a:pt x="20" y="43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1" y="43"/>
                    <a:pt x="33" y="42"/>
                    <a:pt x="34" y="41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1" y="33"/>
                    <a:pt x="42" y="31"/>
                    <a:pt x="42" y="30"/>
                  </a:cubicBezTo>
                  <a:lnTo>
                    <a:pt x="50" y="28"/>
                  </a:lnTo>
                  <a:close/>
                  <a:moveTo>
                    <a:pt x="25" y="38"/>
                  </a:moveTo>
                  <a:cubicBezTo>
                    <a:pt x="18" y="38"/>
                    <a:pt x="13" y="32"/>
                    <a:pt x="13" y="25"/>
                  </a:cubicBezTo>
                  <a:cubicBezTo>
                    <a:pt x="13" y="19"/>
                    <a:pt x="18" y="13"/>
                    <a:pt x="25" y="13"/>
                  </a:cubicBezTo>
                  <a:cubicBezTo>
                    <a:pt x="32" y="13"/>
                    <a:pt x="37" y="19"/>
                    <a:pt x="37" y="25"/>
                  </a:cubicBezTo>
                  <a:cubicBezTo>
                    <a:pt x="37" y="32"/>
                    <a:pt x="32" y="38"/>
                    <a:pt x="25" y="38"/>
                  </a:cubicBezTo>
                  <a:close/>
                </a:path>
              </a:pathLst>
            </a:custGeom>
            <a:solidFill>
              <a:srgbClr val="324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209" name="ïṣlïdê">
              <a:extLst>
                <a:ext uri="{FF2B5EF4-FFF2-40B4-BE49-F238E27FC236}">
                  <a16:creationId xmlns:a16="http://schemas.microsoft.com/office/drawing/2014/main" id="{858C6BB0-33C9-46C8-81C4-6F155795F332}"/>
                </a:ext>
              </a:extLst>
            </p:cNvPr>
            <p:cNvSpPr/>
            <p:nvPr/>
          </p:nvSpPr>
          <p:spPr bwMode="auto">
            <a:xfrm>
              <a:off x="4936165" y="1638933"/>
              <a:ext cx="207367" cy="211433"/>
            </a:xfrm>
            <a:custGeom>
              <a:avLst/>
              <a:gdLst>
                <a:gd name="T0" fmla="*/ 49 w 49"/>
                <a:gd name="T1" fmla="*/ 28 h 50"/>
                <a:gd name="T2" fmla="*/ 49 w 49"/>
                <a:gd name="T3" fmla="*/ 22 h 50"/>
                <a:gd name="T4" fmla="*/ 42 w 49"/>
                <a:gd name="T5" fmla="*/ 20 h 50"/>
                <a:gd name="T6" fmla="*/ 40 w 49"/>
                <a:gd name="T7" fmla="*/ 15 h 50"/>
                <a:gd name="T8" fmla="*/ 43 w 49"/>
                <a:gd name="T9" fmla="*/ 10 h 50"/>
                <a:gd name="T10" fmla="*/ 39 w 49"/>
                <a:gd name="T11" fmla="*/ 6 h 50"/>
                <a:gd name="T12" fmla="*/ 33 w 49"/>
                <a:gd name="T13" fmla="*/ 9 h 50"/>
                <a:gd name="T14" fmla="*/ 29 w 49"/>
                <a:gd name="T15" fmla="*/ 7 h 50"/>
                <a:gd name="T16" fmla="*/ 27 w 49"/>
                <a:gd name="T17" fmla="*/ 0 h 50"/>
                <a:gd name="T18" fmla="*/ 21 w 49"/>
                <a:gd name="T19" fmla="*/ 0 h 50"/>
                <a:gd name="T20" fmla="*/ 20 w 49"/>
                <a:gd name="T21" fmla="*/ 7 h 50"/>
                <a:gd name="T22" fmla="*/ 14 w 49"/>
                <a:gd name="T23" fmla="*/ 9 h 50"/>
                <a:gd name="T24" fmla="*/ 9 w 49"/>
                <a:gd name="T25" fmla="*/ 5 h 50"/>
                <a:gd name="T26" fmla="*/ 4 w 49"/>
                <a:gd name="T27" fmla="*/ 10 h 50"/>
                <a:gd name="T28" fmla="*/ 8 w 49"/>
                <a:gd name="T29" fmla="*/ 15 h 50"/>
                <a:gd name="T30" fmla="*/ 6 w 49"/>
                <a:gd name="T31" fmla="*/ 21 h 50"/>
                <a:gd name="T32" fmla="*/ 0 w 49"/>
                <a:gd name="T33" fmla="*/ 22 h 50"/>
                <a:gd name="T34" fmla="*/ 0 w 49"/>
                <a:gd name="T35" fmla="*/ 28 h 50"/>
                <a:gd name="T36" fmla="*/ 6 w 49"/>
                <a:gd name="T37" fmla="*/ 29 h 50"/>
                <a:gd name="T38" fmla="*/ 8 w 49"/>
                <a:gd name="T39" fmla="*/ 35 h 50"/>
                <a:gd name="T40" fmla="*/ 4 w 49"/>
                <a:gd name="T41" fmla="*/ 40 h 50"/>
                <a:gd name="T42" fmla="*/ 8 w 49"/>
                <a:gd name="T43" fmla="*/ 44 h 50"/>
                <a:gd name="T44" fmla="*/ 14 w 49"/>
                <a:gd name="T45" fmla="*/ 41 h 50"/>
                <a:gd name="T46" fmla="*/ 20 w 49"/>
                <a:gd name="T47" fmla="*/ 43 h 50"/>
                <a:gd name="T48" fmla="*/ 21 w 49"/>
                <a:gd name="T49" fmla="*/ 50 h 50"/>
                <a:gd name="T50" fmla="*/ 27 w 49"/>
                <a:gd name="T51" fmla="*/ 50 h 50"/>
                <a:gd name="T52" fmla="*/ 29 w 49"/>
                <a:gd name="T53" fmla="*/ 43 h 50"/>
                <a:gd name="T54" fmla="*/ 33 w 49"/>
                <a:gd name="T55" fmla="*/ 41 h 50"/>
                <a:gd name="T56" fmla="*/ 39 w 49"/>
                <a:gd name="T57" fmla="*/ 45 h 50"/>
                <a:gd name="T58" fmla="*/ 43 w 49"/>
                <a:gd name="T59" fmla="*/ 41 h 50"/>
                <a:gd name="T60" fmla="*/ 40 w 49"/>
                <a:gd name="T61" fmla="*/ 35 h 50"/>
                <a:gd name="T62" fmla="*/ 42 w 49"/>
                <a:gd name="T63" fmla="*/ 30 h 50"/>
                <a:gd name="T64" fmla="*/ 49 w 49"/>
                <a:gd name="T65" fmla="*/ 28 h 50"/>
                <a:gd name="T66" fmla="*/ 24 w 49"/>
                <a:gd name="T67" fmla="*/ 38 h 50"/>
                <a:gd name="T68" fmla="*/ 12 w 49"/>
                <a:gd name="T69" fmla="*/ 25 h 50"/>
                <a:gd name="T70" fmla="*/ 24 w 49"/>
                <a:gd name="T71" fmla="*/ 13 h 50"/>
                <a:gd name="T72" fmla="*/ 36 w 49"/>
                <a:gd name="T73" fmla="*/ 25 h 50"/>
                <a:gd name="T74" fmla="*/ 24 w 49"/>
                <a:gd name="T75" fmla="*/ 3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9" h="50">
                  <a:moveTo>
                    <a:pt x="49" y="28"/>
                  </a:moveTo>
                  <a:cubicBezTo>
                    <a:pt x="49" y="22"/>
                    <a:pt x="49" y="22"/>
                    <a:pt x="49" y="22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2" y="8"/>
                    <a:pt x="30" y="8"/>
                    <a:pt x="29" y="7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8" y="8"/>
                    <a:pt x="16" y="8"/>
                    <a:pt x="14" y="9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7"/>
                    <a:pt x="6" y="19"/>
                    <a:pt x="6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31"/>
                    <a:pt x="7" y="33"/>
                    <a:pt x="8" y="35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6" y="42"/>
                    <a:pt x="18" y="43"/>
                    <a:pt x="20" y="43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3"/>
                    <a:pt x="32" y="42"/>
                    <a:pt x="33" y="41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1" y="33"/>
                    <a:pt x="41" y="31"/>
                    <a:pt x="42" y="30"/>
                  </a:cubicBezTo>
                  <a:lnTo>
                    <a:pt x="49" y="28"/>
                  </a:lnTo>
                  <a:close/>
                  <a:moveTo>
                    <a:pt x="24" y="38"/>
                  </a:moveTo>
                  <a:cubicBezTo>
                    <a:pt x="17" y="38"/>
                    <a:pt x="12" y="32"/>
                    <a:pt x="12" y="25"/>
                  </a:cubicBezTo>
                  <a:cubicBezTo>
                    <a:pt x="12" y="19"/>
                    <a:pt x="17" y="13"/>
                    <a:pt x="24" y="13"/>
                  </a:cubicBezTo>
                  <a:cubicBezTo>
                    <a:pt x="31" y="13"/>
                    <a:pt x="36" y="19"/>
                    <a:pt x="36" y="25"/>
                  </a:cubicBezTo>
                  <a:cubicBezTo>
                    <a:pt x="36" y="32"/>
                    <a:pt x="31" y="38"/>
                    <a:pt x="24" y="38"/>
                  </a:cubicBezTo>
                  <a:close/>
                </a:path>
              </a:pathLst>
            </a:custGeom>
            <a:solidFill>
              <a:srgbClr val="324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35425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486900" y="4343399"/>
            <a:ext cx="1923594" cy="17027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>
                    <a:lumMod val="20000"/>
                    <a:lumOff val="8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>
                  <a:lumMod val="20000"/>
                  <a:lumOff val="80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AAF2BBA8-C967-46EC-B4E8-0103C16AF4B4}"/>
              </a:ext>
            </a:extLst>
          </p:cNvPr>
          <p:cNvSpPr txBox="1">
            <a:spLocks/>
          </p:cNvSpPr>
          <p:nvPr/>
        </p:nvSpPr>
        <p:spPr>
          <a:xfrm>
            <a:off x="4968909" y="2407845"/>
            <a:ext cx="5419185" cy="7851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dirty="0"/>
              <a:t>项目总结</a:t>
            </a: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84D57D83-ABA2-4E32-BDF1-18280B79FC5E}"/>
              </a:ext>
            </a:extLst>
          </p:cNvPr>
          <p:cNvSpPr txBox="1">
            <a:spLocks/>
          </p:cNvSpPr>
          <p:nvPr/>
        </p:nvSpPr>
        <p:spPr>
          <a:xfrm>
            <a:off x="4968909" y="3097463"/>
            <a:ext cx="5419185" cy="72270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7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54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3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/>
              <a:t>项目总结回顾、分工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77437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总结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SH-2021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5FC737-8E7A-45F0-B00B-7CA0A9DEC975}"/>
              </a:ext>
            </a:extLst>
          </p:cNvPr>
          <p:cNvSpPr txBox="1"/>
          <p:nvPr/>
        </p:nvSpPr>
        <p:spPr>
          <a:xfrm>
            <a:off x="992372" y="1251853"/>
            <a:ext cx="3356011" cy="2121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>
                <a:latin typeface="Cascadia Code" panose="020B0609020000020004" pitchFamily="49" charset="0"/>
                <a:cs typeface="Cascadia Code" panose="020B0609020000020004" pitchFamily="49" charset="0"/>
              </a:rPr>
              <a:t>思路提出</a:t>
            </a:r>
            <a:endParaRPr lang="en-US" altLang="zh-CN" dirty="0">
              <a:latin typeface="Cascadia Code" panose="020B0609020000020004" pitchFamily="49" charset="0"/>
              <a:cs typeface="Cascadia Code" panose="020B0609020000020004" pitchFamily="49" charset="0"/>
            </a:endParaRPr>
          </a:p>
          <a:p>
            <a:pPr>
              <a:lnSpc>
                <a:spcPct val="150000"/>
              </a:lnSpc>
            </a:pPr>
            <a:r>
              <a:rPr lang="en-US" altLang="zh-CN" dirty="0">
                <a:latin typeface="Cascadia Code" panose="020B0609020000020004" pitchFamily="49" charset="0"/>
                <a:cs typeface="Cascadia Code" panose="020B0609020000020004" pitchFamily="49" charset="0"/>
              </a:rPr>
              <a:t>fork() </a:t>
            </a:r>
            <a:r>
              <a:rPr lang="zh-CN" altLang="en-US" dirty="0">
                <a:latin typeface="Cascadia Code" panose="020B0609020000020004" pitchFamily="49" charset="0"/>
                <a:cs typeface="Cascadia Code" panose="020B0609020000020004" pitchFamily="49" charset="0"/>
              </a:rPr>
              <a:t>实现时遇到的问题</a:t>
            </a:r>
            <a:endParaRPr lang="en-US" dirty="0">
              <a:latin typeface="Cascadia Code" panose="020B0609020000020004" pitchFamily="49" charset="0"/>
              <a:cs typeface="Cascadia Code" panose="020B0609020000020004" pitchFamily="49" charset="0"/>
            </a:endParaRPr>
          </a:p>
          <a:p>
            <a:pPr>
              <a:lnSpc>
                <a:spcPct val="150000"/>
              </a:lnSpc>
            </a:pPr>
            <a:r>
              <a:rPr lang="zh-CN" altLang="en-US" dirty="0"/>
              <a:t>配置环境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Cascadia Code" panose="020B0609020000020004" pitchFamily="49" charset="0"/>
                <a:cs typeface="Cascadia Code" panose="020B0609020000020004" pitchFamily="49" charset="0"/>
              </a:rPr>
              <a:t>调试 </a:t>
            </a:r>
            <a:r>
              <a:rPr lang="zh-CN" altLang="en-US" strike="sngStrike" dirty="0">
                <a:latin typeface="Cascadia Code" panose="020B0609020000020004" pitchFamily="49" charset="0"/>
                <a:cs typeface="Cascadia Code" panose="020B0609020000020004" pitchFamily="49" charset="0"/>
              </a:rPr>
              <a:t>痛苦面具</a:t>
            </a:r>
            <a:endParaRPr lang="en-US" strike="sngStrike" dirty="0">
              <a:latin typeface="Cascadia Code" panose="020B0609020000020004" pitchFamily="49" charset="0"/>
              <a:cs typeface="Cascadia Code" panose="020B0609020000020004" pitchFamily="49" charset="0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Cascadia Code" panose="020B0609020000020004" pitchFamily="49" charset="0"/>
                <a:cs typeface="Cascadia Code" panose="020B0609020000020004" pitchFamily="49" charset="0"/>
              </a:rPr>
              <a:t>联系作者</a:t>
            </a:r>
            <a:endParaRPr lang="en-US" dirty="0">
              <a:latin typeface="Cascadia Code" panose="020B0609020000020004" pitchFamily="49" charset="0"/>
              <a:cs typeface="Cascadia Code" panose="020B0609020000020004" pitchFamily="49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4D1F70E-AE32-420F-BEC0-AD1AC3BE6D27}"/>
              </a:ext>
            </a:extLst>
          </p:cNvPr>
          <p:cNvSpPr txBox="1"/>
          <p:nvPr/>
        </p:nvSpPr>
        <p:spPr>
          <a:xfrm>
            <a:off x="992372" y="3428309"/>
            <a:ext cx="9828332" cy="2259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dirty="0"/>
              <a:t>组内分工</a:t>
            </a:r>
            <a:endParaRPr lang="en-US" sz="2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调研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实现</a:t>
            </a:r>
            <a:endParaRPr lang="en-US" altLang="zh-CN" dirty="0"/>
          </a:p>
          <a:p>
            <a:pPr algn="just">
              <a:lnSpc>
                <a:spcPct val="150000"/>
              </a:lnSpc>
            </a:pPr>
            <a:r>
              <a:rPr lang="en-US" dirty="0"/>
              <a:t>    </a:t>
            </a:r>
            <a:r>
              <a:rPr lang="zh-CN" altLang="en-US" dirty="0"/>
              <a:t>高泽豫 </a:t>
            </a:r>
            <a:r>
              <a:rPr lang="en-US" altLang="zh-CN" dirty="0"/>
              <a:t>—— </a:t>
            </a:r>
            <a:r>
              <a:rPr lang="en-US" altLang="zh-CN" dirty="0">
                <a:latin typeface="Cascadia Code" panose="020B0609020000020004" pitchFamily="49" charset="0"/>
                <a:cs typeface="Cascadia Code" panose="020B0609020000020004" pitchFamily="49" charset="0"/>
              </a:rPr>
              <a:t>fork()			</a:t>
            </a:r>
            <a:r>
              <a:rPr lang="zh-CN" altLang="en-US" dirty="0">
                <a:latin typeface="Cascadia Code" panose="020B0609020000020004" pitchFamily="49" charset="0"/>
                <a:cs typeface="Cascadia Code" panose="020B0609020000020004" pitchFamily="49" charset="0"/>
              </a:rPr>
              <a:t>谢强 </a:t>
            </a:r>
            <a:r>
              <a:rPr lang="en-US" altLang="zh-CN" dirty="0"/>
              <a:t>—— </a:t>
            </a:r>
            <a:r>
              <a:rPr lang="en-US" altLang="zh-CN" dirty="0" err="1">
                <a:latin typeface="Cascadia Code" panose="020B0609020000020004" pitchFamily="49" charset="0"/>
                <a:cs typeface="Cascadia Code" panose="020B0609020000020004" pitchFamily="49" charset="0"/>
              </a:rPr>
              <a:t>syscall_rewriter</a:t>
            </a:r>
            <a:r>
              <a:rPr lang="en-US" altLang="zh-CN" dirty="0">
                <a:latin typeface="Cascadia Code" panose="020B0609020000020004" pitchFamily="49" charset="0"/>
                <a:cs typeface="Cascadia Code" panose="020B0609020000020004" pitchFamily="49" charset="0"/>
              </a:rPr>
              <a:t> </a:t>
            </a:r>
            <a:r>
              <a:rPr lang="zh-CN" altLang="en-US" dirty="0">
                <a:latin typeface="Cascadia Code" panose="020B0609020000020004" pitchFamily="49" charset="0"/>
                <a:cs typeface="Cascadia Code" panose="020B0609020000020004" pitchFamily="49" charset="0"/>
              </a:rPr>
              <a:t>思路和主要实现</a:t>
            </a:r>
            <a:endParaRPr lang="en-US" altLang="zh-CN" dirty="0">
              <a:latin typeface="Cascadia Code" panose="020B0609020000020004" pitchFamily="49" charset="0"/>
              <a:cs typeface="Cascadia Code" panose="020B0609020000020004" pitchFamily="49" charset="0"/>
            </a:endParaRPr>
          </a:p>
          <a:p>
            <a:pPr>
              <a:lnSpc>
                <a:spcPct val="150000"/>
              </a:lnSpc>
            </a:pPr>
            <a:r>
              <a:rPr lang="en-US" dirty="0">
                <a:latin typeface="Cascadia Code" panose="020B0609020000020004" pitchFamily="49" charset="0"/>
                <a:cs typeface="Cascadia Code" panose="020B0609020000020004" pitchFamily="49" charset="0"/>
              </a:rPr>
              <a:t>  </a:t>
            </a:r>
            <a:r>
              <a:rPr lang="zh-CN" altLang="en-US" dirty="0">
                <a:latin typeface="Cascadia Code" panose="020B0609020000020004" pitchFamily="49" charset="0"/>
                <a:cs typeface="Cascadia Code" panose="020B0609020000020004" pitchFamily="49" charset="0"/>
              </a:rPr>
              <a:t>蔡智臻 </a:t>
            </a:r>
            <a:r>
              <a:rPr lang="en-US" altLang="zh-CN" dirty="0"/>
              <a:t>—— </a:t>
            </a:r>
            <a:r>
              <a:rPr lang="zh-CN" altLang="en-US" dirty="0"/>
              <a:t>源码审计、实验环境配置</a:t>
            </a:r>
            <a:r>
              <a:rPr lang="en-US" altLang="zh-CN" dirty="0"/>
              <a:t>	</a:t>
            </a:r>
            <a:r>
              <a:rPr lang="zh-CN" altLang="en-US" dirty="0"/>
              <a:t>徐怡 </a:t>
            </a:r>
            <a:r>
              <a:rPr lang="en-US" altLang="zh-CN" dirty="0"/>
              <a:t>—— </a:t>
            </a:r>
            <a:r>
              <a:rPr lang="zh-CN" altLang="en-US" dirty="0"/>
              <a:t>实现逻辑梳理、资料整理</a:t>
            </a:r>
            <a:r>
              <a:rPr lang="zh-CN" altLang="en-US" strike="sngStrike" dirty="0"/>
              <a:t>刷论文</a:t>
            </a:r>
            <a:endParaRPr lang="en-US" strike="sngStrike" dirty="0">
              <a:latin typeface="Cascadia Code" panose="020B0609020000020004" pitchFamily="49" charset="0"/>
              <a:cs typeface="Cascadia Code" panose="020B0609020000020004" pitchFamily="49" charset="0"/>
            </a:endParaRPr>
          </a:p>
        </p:txBody>
      </p:sp>
      <p:grpSp>
        <p:nvGrpSpPr>
          <p:cNvPr id="229" name="组合 1">
            <a:extLst>
              <a:ext uri="{FF2B5EF4-FFF2-40B4-BE49-F238E27FC236}">
                <a16:creationId xmlns:a16="http://schemas.microsoft.com/office/drawing/2014/main" id="{4E646B92-5655-4988-81A2-AF8D514BE8FC}"/>
              </a:ext>
            </a:extLst>
          </p:cNvPr>
          <p:cNvGrpSpPr/>
          <p:nvPr/>
        </p:nvGrpSpPr>
        <p:grpSpPr>
          <a:xfrm>
            <a:off x="6095205" y="1809539"/>
            <a:ext cx="4546151" cy="2576091"/>
            <a:chOff x="3605213" y="1895475"/>
            <a:chExt cx="5086350" cy="3071813"/>
          </a:xfrm>
        </p:grpSpPr>
        <p:sp>
          <p:nvSpPr>
            <p:cNvPr id="230" name="矩形 4">
              <a:extLst>
                <a:ext uri="{FF2B5EF4-FFF2-40B4-BE49-F238E27FC236}">
                  <a16:creationId xmlns:a16="http://schemas.microsoft.com/office/drawing/2014/main" id="{952C6238-2A05-4D46-868E-9462ECB303BC}"/>
                </a:ext>
              </a:extLst>
            </p:cNvPr>
            <p:cNvSpPr/>
            <p:nvPr/>
          </p:nvSpPr>
          <p:spPr bwMode="auto">
            <a:xfrm>
              <a:off x="3651250" y="1898650"/>
              <a:ext cx="4889500" cy="3060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1" name="任意多边形 5">
              <a:extLst>
                <a:ext uri="{FF2B5EF4-FFF2-40B4-BE49-F238E27FC236}">
                  <a16:creationId xmlns:a16="http://schemas.microsoft.com/office/drawing/2014/main" id="{84876849-40CB-4463-B9D9-C540D73A9DA8}"/>
                </a:ext>
              </a:extLst>
            </p:cNvPr>
            <p:cNvSpPr/>
            <p:nvPr/>
          </p:nvSpPr>
          <p:spPr bwMode="auto">
            <a:xfrm>
              <a:off x="3605213" y="2103438"/>
              <a:ext cx="5086350" cy="2647950"/>
            </a:xfrm>
            <a:custGeom>
              <a:avLst/>
              <a:gdLst>
                <a:gd name="T0" fmla="*/ 398 w 1348"/>
                <a:gd name="T1" fmla="*/ 575 h 701"/>
                <a:gd name="T2" fmla="*/ 371 w 1348"/>
                <a:gd name="T3" fmla="*/ 575 h 701"/>
                <a:gd name="T4" fmla="*/ 371 w 1348"/>
                <a:gd name="T5" fmla="*/ 580 h 701"/>
                <a:gd name="T6" fmla="*/ 328 w 1348"/>
                <a:gd name="T7" fmla="*/ 616 h 701"/>
                <a:gd name="T8" fmla="*/ 328 w 1348"/>
                <a:gd name="T9" fmla="*/ 622 h 701"/>
                <a:gd name="T10" fmla="*/ 357 w 1348"/>
                <a:gd name="T11" fmla="*/ 622 h 701"/>
                <a:gd name="T12" fmla="*/ 357 w 1348"/>
                <a:gd name="T13" fmla="*/ 653 h 701"/>
                <a:gd name="T14" fmla="*/ 365 w 1348"/>
                <a:gd name="T15" fmla="*/ 685 h 701"/>
                <a:gd name="T16" fmla="*/ 364 w 1348"/>
                <a:gd name="T17" fmla="*/ 695 h 701"/>
                <a:gd name="T18" fmla="*/ 399 w 1348"/>
                <a:gd name="T19" fmla="*/ 701 h 701"/>
                <a:gd name="T20" fmla="*/ 398 w 1348"/>
                <a:gd name="T21" fmla="*/ 691 h 701"/>
                <a:gd name="T22" fmla="*/ 398 w 1348"/>
                <a:gd name="T23" fmla="*/ 575 h 701"/>
                <a:gd name="T24" fmla="*/ 293 w 1348"/>
                <a:gd name="T25" fmla="*/ 2 h 701"/>
                <a:gd name="T26" fmla="*/ 292 w 1348"/>
                <a:gd name="T27" fmla="*/ 2 h 701"/>
                <a:gd name="T28" fmla="*/ 15 w 1348"/>
                <a:gd name="T29" fmla="*/ 274 h 701"/>
                <a:gd name="T30" fmla="*/ 184 w 1348"/>
                <a:gd name="T31" fmla="*/ 658 h 701"/>
                <a:gd name="T32" fmla="*/ 184 w 1348"/>
                <a:gd name="T33" fmla="*/ 622 h 701"/>
                <a:gd name="T34" fmla="*/ 223 w 1348"/>
                <a:gd name="T35" fmla="*/ 622 h 701"/>
                <a:gd name="T36" fmla="*/ 223 w 1348"/>
                <a:gd name="T37" fmla="*/ 622 h 701"/>
                <a:gd name="T38" fmla="*/ 223 w 1348"/>
                <a:gd name="T39" fmla="*/ 622 h 701"/>
                <a:gd name="T40" fmla="*/ 221 w 1348"/>
                <a:gd name="T41" fmla="*/ 619 h 701"/>
                <a:gd name="T42" fmla="*/ 216 w 1348"/>
                <a:gd name="T43" fmla="*/ 608 h 701"/>
                <a:gd name="T44" fmla="*/ 213 w 1348"/>
                <a:gd name="T45" fmla="*/ 608 h 701"/>
                <a:gd name="T46" fmla="*/ 160 w 1348"/>
                <a:gd name="T47" fmla="*/ 561 h 701"/>
                <a:gd name="T48" fmla="*/ 155 w 1348"/>
                <a:gd name="T49" fmla="*/ 498 h 701"/>
                <a:gd name="T50" fmla="*/ 182 w 1348"/>
                <a:gd name="T51" fmla="*/ 387 h 701"/>
                <a:gd name="T52" fmla="*/ 183 w 1348"/>
                <a:gd name="T53" fmla="*/ 387 h 701"/>
                <a:gd name="T54" fmla="*/ 184 w 1348"/>
                <a:gd name="T55" fmla="*/ 385 h 701"/>
                <a:gd name="T56" fmla="*/ 265 w 1348"/>
                <a:gd name="T57" fmla="*/ 355 h 701"/>
                <a:gd name="T58" fmla="*/ 265 w 1348"/>
                <a:gd name="T59" fmla="*/ 355 h 701"/>
                <a:gd name="T60" fmla="*/ 263 w 1348"/>
                <a:gd name="T61" fmla="*/ 350 h 701"/>
                <a:gd name="T62" fmla="*/ 284 w 1348"/>
                <a:gd name="T63" fmla="*/ 342 h 701"/>
                <a:gd name="T64" fmla="*/ 289 w 1348"/>
                <a:gd name="T65" fmla="*/ 342 h 701"/>
                <a:gd name="T66" fmla="*/ 293 w 1348"/>
                <a:gd name="T67" fmla="*/ 327 h 701"/>
                <a:gd name="T68" fmla="*/ 293 w 1348"/>
                <a:gd name="T69" fmla="*/ 307 h 701"/>
                <a:gd name="T70" fmla="*/ 291 w 1348"/>
                <a:gd name="T71" fmla="*/ 305 h 701"/>
                <a:gd name="T72" fmla="*/ 290 w 1348"/>
                <a:gd name="T73" fmla="*/ 289 h 701"/>
                <a:gd name="T74" fmla="*/ 293 w 1348"/>
                <a:gd name="T75" fmla="*/ 287 h 701"/>
                <a:gd name="T76" fmla="*/ 293 w 1348"/>
                <a:gd name="T77" fmla="*/ 2 h 701"/>
                <a:gd name="T78" fmla="*/ 1095 w 1348"/>
                <a:gd name="T79" fmla="*/ 180 h 701"/>
                <a:gd name="T80" fmla="*/ 1101 w 1348"/>
                <a:gd name="T81" fmla="*/ 150 h 701"/>
                <a:gd name="T82" fmla="*/ 1118 w 1348"/>
                <a:gd name="T83" fmla="*/ 205 h 701"/>
                <a:gd name="T84" fmla="*/ 1109 w 1348"/>
                <a:gd name="T85" fmla="*/ 205 h 701"/>
                <a:gd name="T86" fmla="*/ 1110 w 1348"/>
                <a:gd name="T87" fmla="*/ 210 h 701"/>
                <a:gd name="T88" fmla="*/ 1100 w 1348"/>
                <a:gd name="T89" fmla="*/ 207 h 701"/>
                <a:gd name="T90" fmla="*/ 1069 w 1348"/>
                <a:gd name="T91" fmla="*/ 177 h 701"/>
                <a:gd name="T92" fmla="*/ 1077 w 1348"/>
                <a:gd name="T93" fmla="*/ 176 h 701"/>
                <a:gd name="T94" fmla="*/ 1095 w 1348"/>
                <a:gd name="T95" fmla="*/ 180 h 701"/>
                <a:gd name="T96" fmla="*/ 1056 w 1348"/>
                <a:gd name="T97" fmla="*/ 0 h 701"/>
                <a:gd name="T98" fmla="*/ 1056 w 1348"/>
                <a:gd name="T99" fmla="*/ 270 h 701"/>
                <a:gd name="T100" fmla="*/ 1156 w 1348"/>
                <a:gd name="T101" fmla="*/ 270 h 701"/>
                <a:gd name="T102" fmla="*/ 1156 w 1348"/>
                <a:gd name="T103" fmla="*/ 499 h 701"/>
                <a:gd name="T104" fmla="*/ 1056 w 1348"/>
                <a:gd name="T105" fmla="*/ 499 h 701"/>
                <a:gd name="T106" fmla="*/ 1056 w 1348"/>
                <a:gd name="T107" fmla="*/ 673 h 701"/>
                <a:gd name="T108" fmla="*/ 1079 w 1348"/>
                <a:gd name="T109" fmla="*/ 673 h 701"/>
                <a:gd name="T110" fmla="*/ 1240 w 1348"/>
                <a:gd name="T111" fmla="*/ 559 h 701"/>
                <a:gd name="T112" fmla="*/ 1086 w 1348"/>
                <a:gd name="T113" fmla="*/ 7 h 701"/>
                <a:gd name="T114" fmla="*/ 1056 w 1348"/>
                <a:gd name="T115" fmla="*/ 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8" h="701">
                  <a:moveTo>
                    <a:pt x="398" y="575"/>
                  </a:moveTo>
                  <a:cubicBezTo>
                    <a:pt x="371" y="575"/>
                    <a:pt x="371" y="575"/>
                    <a:pt x="371" y="575"/>
                  </a:cubicBezTo>
                  <a:cubicBezTo>
                    <a:pt x="371" y="577"/>
                    <a:pt x="371" y="578"/>
                    <a:pt x="371" y="580"/>
                  </a:cubicBezTo>
                  <a:cubicBezTo>
                    <a:pt x="371" y="599"/>
                    <a:pt x="367" y="611"/>
                    <a:pt x="328" y="616"/>
                  </a:cubicBezTo>
                  <a:cubicBezTo>
                    <a:pt x="328" y="619"/>
                    <a:pt x="328" y="621"/>
                    <a:pt x="328" y="622"/>
                  </a:cubicBezTo>
                  <a:cubicBezTo>
                    <a:pt x="357" y="622"/>
                    <a:pt x="357" y="622"/>
                    <a:pt x="357" y="622"/>
                  </a:cubicBezTo>
                  <a:cubicBezTo>
                    <a:pt x="357" y="653"/>
                    <a:pt x="357" y="653"/>
                    <a:pt x="357" y="653"/>
                  </a:cubicBezTo>
                  <a:cubicBezTo>
                    <a:pt x="365" y="685"/>
                    <a:pt x="365" y="685"/>
                    <a:pt x="365" y="685"/>
                  </a:cubicBezTo>
                  <a:cubicBezTo>
                    <a:pt x="364" y="695"/>
                    <a:pt x="364" y="695"/>
                    <a:pt x="364" y="695"/>
                  </a:cubicBezTo>
                  <a:cubicBezTo>
                    <a:pt x="376" y="697"/>
                    <a:pt x="387" y="699"/>
                    <a:pt x="399" y="701"/>
                  </a:cubicBezTo>
                  <a:cubicBezTo>
                    <a:pt x="398" y="697"/>
                    <a:pt x="398" y="694"/>
                    <a:pt x="398" y="691"/>
                  </a:cubicBezTo>
                  <a:cubicBezTo>
                    <a:pt x="398" y="575"/>
                    <a:pt x="398" y="575"/>
                    <a:pt x="398" y="575"/>
                  </a:cubicBezTo>
                  <a:moveTo>
                    <a:pt x="293" y="2"/>
                  </a:moveTo>
                  <a:cubicBezTo>
                    <a:pt x="292" y="2"/>
                    <a:pt x="292" y="2"/>
                    <a:pt x="292" y="2"/>
                  </a:cubicBezTo>
                  <a:cubicBezTo>
                    <a:pt x="149" y="36"/>
                    <a:pt x="35" y="119"/>
                    <a:pt x="15" y="274"/>
                  </a:cubicBezTo>
                  <a:cubicBezTo>
                    <a:pt x="0" y="391"/>
                    <a:pt x="13" y="587"/>
                    <a:pt x="184" y="658"/>
                  </a:cubicBezTo>
                  <a:cubicBezTo>
                    <a:pt x="184" y="622"/>
                    <a:pt x="184" y="622"/>
                    <a:pt x="184" y="622"/>
                  </a:cubicBezTo>
                  <a:cubicBezTo>
                    <a:pt x="223" y="622"/>
                    <a:pt x="223" y="622"/>
                    <a:pt x="223" y="622"/>
                  </a:cubicBezTo>
                  <a:cubicBezTo>
                    <a:pt x="223" y="622"/>
                    <a:pt x="223" y="622"/>
                    <a:pt x="223" y="622"/>
                  </a:cubicBezTo>
                  <a:cubicBezTo>
                    <a:pt x="223" y="622"/>
                    <a:pt x="223" y="622"/>
                    <a:pt x="223" y="622"/>
                  </a:cubicBezTo>
                  <a:cubicBezTo>
                    <a:pt x="221" y="619"/>
                    <a:pt x="221" y="619"/>
                    <a:pt x="221" y="619"/>
                  </a:cubicBezTo>
                  <a:cubicBezTo>
                    <a:pt x="219" y="616"/>
                    <a:pt x="218" y="612"/>
                    <a:pt x="216" y="608"/>
                  </a:cubicBezTo>
                  <a:cubicBezTo>
                    <a:pt x="213" y="608"/>
                    <a:pt x="213" y="608"/>
                    <a:pt x="213" y="608"/>
                  </a:cubicBezTo>
                  <a:cubicBezTo>
                    <a:pt x="187" y="607"/>
                    <a:pt x="165" y="587"/>
                    <a:pt x="160" y="561"/>
                  </a:cubicBezTo>
                  <a:cubicBezTo>
                    <a:pt x="156" y="538"/>
                    <a:pt x="155" y="517"/>
                    <a:pt x="155" y="498"/>
                  </a:cubicBezTo>
                  <a:cubicBezTo>
                    <a:pt x="155" y="446"/>
                    <a:pt x="168" y="408"/>
                    <a:pt x="182" y="387"/>
                  </a:cubicBezTo>
                  <a:cubicBezTo>
                    <a:pt x="182" y="387"/>
                    <a:pt x="182" y="387"/>
                    <a:pt x="183" y="387"/>
                  </a:cubicBezTo>
                  <a:cubicBezTo>
                    <a:pt x="183" y="386"/>
                    <a:pt x="183" y="385"/>
                    <a:pt x="184" y="385"/>
                  </a:cubicBezTo>
                  <a:cubicBezTo>
                    <a:pt x="194" y="364"/>
                    <a:pt x="238" y="357"/>
                    <a:pt x="265" y="355"/>
                  </a:cubicBezTo>
                  <a:cubicBezTo>
                    <a:pt x="265" y="355"/>
                    <a:pt x="265" y="355"/>
                    <a:pt x="265" y="355"/>
                  </a:cubicBezTo>
                  <a:cubicBezTo>
                    <a:pt x="265" y="355"/>
                    <a:pt x="263" y="353"/>
                    <a:pt x="263" y="350"/>
                  </a:cubicBezTo>
                  <a:cubicBezTo>
                    <a:pt x="263" y="347"/>
                    <a:pt x="267" y="342"/>
                    <a:pt x="284" y="342"/>
                  </a:cubicBezTo>
                  <a:cubicBezTo>
                    <a:pt x="286" y="342"/>
                    <a:pt x="288" y="342"/>
                    <a:pt x="289" y="342"/>
                  </a:cubicBezTo>
                  <a:cubicBezTo>
                    <a:pt x="293" y="327"/>
                    <a:pt x="293" y="327"/>
                    <a:pt x="293" y="327"/>
                  </a:cubicBezTo>
                  <a:cubicBezTo>
                    <a:pt x="293" y="307"/>
                    <a:pt x="293" y="307"/>
                    <a:pt x="293" y="307"/>
                  </a:cubicBezTo>
                  <a:cubicBezTo>
                    <a:pt x="291" y="305"/>
                    <a:pt x="291" y="305"/>
                    <a:pt x="291" y="305"/>
                  </a:cubicBezTo>
                  <a:cubicBezTo>
                    <a:pt x="287" y="300"/>
                    <a:pt x="287" y="294"/>
                    <a:pt x="290" y="289"/>
                  </a:cubicBezTo>
                  <a:cubicBezTo>
                    <a:pt x="291" y="288"/>
                    <a:pt x="292" y="287"/>
                    <a:pt x="293" y="287"/>
                  </a:cubicBezTo>
                  <a:cubicBezTo>
                    <a:pt x="293" y="2"/>
                    <a:pt x="293" y="2"/>
                    <a:pt x="293" y="2"/>
                  </a:cubicBezTo>
                  <a:moveTo>
                    <a:pt x="1095" y="180"/>
                  </a:moveTo>
                  <a:cubicBezTo>
                    <a:pt x="1094" y="171"/>
                    <a:pt x="1095" y="160"/>
                    <a:pt x="1101" y="150"/>
                  </a:cubicBezTo>
                  <a:cubicBezTo>
                    <a:pt x="1101" y="150"/>
                    <a:pt x="1131" y="169"/>
                    <a:pt x="1118" y="205"/>
                  </a:cubicBezTo>
                  <a:cubicBezTo>
                    <a:pt x="1109" y="205"/>
                    <a:pt x="1109" y="205"/>
                    <a:pt x="1109" y="205"/>
                  </a:cubicBezTo>
                  <a:cubicBezTo>
                    <a:pt x="1110" y="206"/>
                    <a:pt x="1110" y="208"/>
                    <a:pt x="1110" y="210"/>
                  </a:cubicBezTo>
                  <a:cubicBezTo>
                    <a:pt x="1100" y="207"/>
                    <a:pt x="1100" y="207"/>
                    <a:pt x="1100" y="207"/>
                  </a:cubicBezTo>
                  <a:cubicBezTo>
                    <a:pt x="1100" y="207"/>
                    <a:pt x="1075" y="200"/>
                    <a:pt x="1069" y="177"/>
                  </a:cubicBezTo>
                  <a:cubicBezTo>
                    <a:pt x="1069" y="177"/>
                    <a:pt x="1072" y="176"/>
                    <a:pt x="1077" y="176"/>
                  </a:cubicBezTo>
                  <a:cubicBezTo>
                    <a:pt x="1082" y="176"/>
                    <a:pt x="1089" y="177"/>
                    <a:pt x="1095" y="180"/>
                  </a:cubicBezTo>
                  <a:moveTo>
                    <a:pt x="1056" y="0"/>
                  </a:moveTo>
                  <a:cubicBezTo>
                    <a:pt x="1056" y="270"/>
                    <a:pt x="1056" y="270"/>
                    <a:pt x="1056" y="270"/>
                  </a:cubicBezTo>
                  <a:cubicBezTo>
                    <a:pt x="1156" y="270"/>
                    <a:pt x="1156" y="270"/>
                    <a:pt x="1156" y="270"/>
                  </a:cubicBezTo>
                  <a:cubicBezTo>
                    <a:pt x="1156" y="499"/>
                    <a:pt x="1156" y="499"/>
                    <a:pt x="1156" y="499"/>
                  </a:cubicBezTo>
                  <a:cubicBezTo>
                    <a:pt x="1056" y="499"/>
                    <a:pt x="1056" y="499"/>
                    <a:pt x="1056" y="499"/>
                  </a:cubicBezTo>
                  <a:cubicBezTo>
                    <a:pt x="1056" y="673"/>
                    <a:pt x="1056" y="673"/>
                    <a:pt x="1056" y="673"/>
                  </a:cubicBezTo>
                  <a:cubicBezTo>
                    <a:pt x="1079" y="673"/>
                    <a:pt x="1079" y="673"/>
                    <a:pt x="1079" y="673"/>
                  </a:cubicBezTo>
                  <a:cubicBezTo>
                    <a:pt x="1143" y="646"/>
                    <a:pt x="1197" y="609"/>
                    <a:pt x="1240" y="559"/>
                  </a:cubicBezTo>
                  <a:cubicBezTo>
                    <a:pt x="1348" y="436"/>
                    <a:pt x="1346" y="63"/>
                    <a:pt x="1086" y="7"/>
                  </a:cubicBezTo>
                  <a:cubicBezTo>
                    <a:pt x="1076" y="5"/>
                    <a:pt x="1066" y="3"/>
                    <a:pt x="1056" y="0"/>
                  </a:cubicBezTo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2" name="任意多边形 6">
              <a:extLst>
                <a:ext uri="{FF2B5EF4-FFF2-40B4-BE49-F238E27FC236}">
                  <a16:creationId xmlns:a16="http://schemas.microsoft.com/office/drawing/2014/main" id="{F5625DE0-6E81-47E5-BF6B-AEBE673EBE6F}"/>
                </a:ext>
              </a:extLst>
            </p:cNvPr>
            <p:cNvSpPr/>
            <p:nvPr/>
          </p:nvSpPr>
          <p:spPr bwMode="auto">
            <a:xfrm>
              <a:off x="4906963" y="1895475"/>
              <a:ext cx="2682875" cy="3025775"/>
            </a:xfrm>
            <a:custGeom>
              <a:avLst/>
              <a:gdLst>
                <a:gd name="T0" fmla="*/ 711 w 711"/>
                <a:gd name="T1" fmla="*/ 47 h 801"/>
                <a:gd name="T2" fmla="*/ 711 w 711"/>
                <a:gd name="T3" fmla="*/ 801 h 801"/>
                <a:gd name="T4" fmla="*/ 108 w 711"/>
                <a:gd name="T5" fmla="*/ 801 h 801"/>
                <a:gd name="T6" fmla="*/ 53 w 711"/>
                <a:gd name="T7" fmla="*/ 746 h 801"/>
                <a:gd name="T8" fmla="*/ 53 w 711"/>
                <a:gd name="T9" fmla="*/ 53 h 801"/>
                <a:gd name="T10" fmla="*/ 0 w 711"/>
                <a:gd name="T11" fmla="*/ 0 h 801"/>
                <a:gd name="T12" fmla="*/ 664 w 711"/>
                <a:gd name="T13" fmla="*/ 0 h 801"/>
                <a:gd name="T14" fmla="*/ 711 w 711"/>
                <a:gd name="T15" fmla="*/ 47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801">
                  <a:moveTo>
                    <a:pt x="711" y="47"/>
                  </a:moveTo>
                  <a:cubicBezTo>
                    <a:pt x="711" y="801"/>
                    <a:pt x="711" y="801"/>
                    <a:pt x="711" y="801"/>
                  </a:cubicBezTo>
                  <a:cubicBezTo>
                    <a:pt x="108" y="801"/>
                    <a:pt x="108" y="801"/>
                    <a:pt x="108" y="801"/>
                  </a:cubicBezTo>
                  <a:cubicBezTo>
                    <a:pt x="78" y="801"/>
                    <a:pt x="53" y="776"/>
                    <a:pt x="53" y="746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23"/>
                    <a:pt x="30" y="0"/>
                    <a:pt x="0" y="0"/>
                  </a:cubicBezTo>
                  <a:cubicBezTo>
                    <a:pt x="664" y="0"/>
                    <a:pt x="664" y="0"/>
                    <a:pt x="664" y="0"/>
                  </a:cubicBezTo>
                  <a:cubicBezTo>
                    <a:pt x="690" y="0"/>
                    <a:pt x="711" y="21"/>
                    <a:pt x="711" y="47"/>
                  </a:cubicBezTo>
                </a:path>
              </a:pathLst>
            </a:custGeom>
            <a:solidFill>
              <a:srgbClr val="68E1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3" name="任意多边形 7">
              <a:extLst>
                <a:ext uri="{FF2B5EF4-FFF2-40B4-BE49-F238E27FC236}">
                  <a16:creationId xmlns:a16="http://schemas.microsoft.com/office/drawing/2014/main" id="{1CD0699C-36C0-494D-9710-DFD416FFE365}"/>
                </a:ext>
              </a:extLst>
            </p:cNvPr>
            <p:cNvSpPr/>
            <p:nvPr/>
          </p:nvSpPr>
          <p:spPr bwMode="auto">
            <a:xfrm>
              <a:off x="4711700" y="1895475"/>
              <a:ext cx="395288" cy="2379663"/>
            </a:xfrm>
            <a:custGeom>
              <a:avLst/>
              <a:gdLst>
                <a:gd name="T0" fmla="*/ 105 w 105"/>
                <a:gd name="T1" fmla="*/ 53 h 630"/>
                <a:gd name="T2" fmla="*/ 105 w 105"/>
                <a:gd name="T3" fmla="*/ 630 h 630"/>
                <a:gd name="T4" fmla="*/ 0 w 105"/>
                <a:gd name="T5" fmla="*/ 630 h 630"/>
                <a:gd name="T6" fmla="*/ 0 w 105"/>
                <a:gd name="T7" fmla="*/ 53 h 630"/>
                <a:gd name="T8" fmla="*/ 52 w 105"/>
                <a:gd name="T9" fmla="*/ 0 h 630"/>
                <a:gd name="T10" fmla="*/ 105 w 105"/>
                <a:gd name="T11" fmla="*/ 53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630">
                  <a:moveTo>
                    <a:pt x="105" y="53"/>
                  </a:moveTo>
                  <a:cubicBezTo>
                    <a:pt x="105" y="630"/>
                    <a:pt x="105" y="630"/>
                    <a:pt x="105" y="630"/>
                  </a:cubicBezTo>
                  <a:cubicBezTo>
                    <a:pt x="0" y="630"/>
                    <a:pt x="0" y="630"/>
                    <a:pt x="0" y="63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82" y="0"/>
                    <a:pt x="105" y="23"/>
                    <a:pt x="105" y="53"/>
                  </a:cubicBezTo>
                </a:path>
              </a:pathLst>
            </a:custGeom>
            <a:solidFill>
              <a:srgbClr val="2428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4" name="任意多边形 8">
              <a:extLst>
                <a:ext uri="{FF2B5EF4-FFF2-40B4-BE49-F238E27FC236}">
                  <a16:creationId xmlns:a16="http://schemas.microsoft.com/office/drawing/2014/main" id="{4C31AB8A-DB4C-440C-B01F-AFE5FCDEFEFE}"/>
                </a:ext>
              </a:extLst>
            </p:cNvPr>
            <p:cNvSpPr/>
            <p:nvPr/>
          </p:nvSpPr>
          <p:spPr bwMode="auto">
            <a:xfrm>
              <a:off x="4711700" y="1895475"/>
              <a:ext cx="395288" cy="2379663"/>
            </a:xfrm>
            <a:custGeom>
              <a:avLst/>
              <a:gdLst>
                <a:gd name="T0" fmla="*/ 105 w 105"/>
                <a:gd name="T1" fmla="*/ 53 h 630"/>
                <a:gd name="T2" fmla="*/ 105 w 105"/>
                <a:gd name="T3" fmla="*/ 630 h 630"/>
                <a:gd name="T4" fmla="*/ 0 w 105"/>
                <a:gd name="T5" fmla="*/ 630 h 630"/>
                <a:gd name="T6" fmla="*/ 0 w 105"/>
                <a:gd name="T7" fmla="*/ 53 h 630"/>
                <a:gd name="T8" fmla="*/ 52 w 105"/>
                <a:gd name="T9" fmla="*/ 0 h 630"/>
                <a:gd name="T10" fmla="*/ 105 w 105"/>
                <a:gd name="T11" fmla="*/ 53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630">
                  <a:moveTo>
                    <a:pt x="105" y="53"/>
                  </a:moveTo>
                  <a:cubicBezTo>
                    <a:pt x="105" y="630"/>
                    <a:pt x="105" y="630"/>
                    <a:pt x="105" y="630"/>
                  </a:cubicBezTo>
                  <a:cubicBezTo>
                    <a:pt x="0" y="630"/>
                    <a:pt x="0" y="630"/>
                    <a:pt x="0" y="63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82" y="0"/>
                    <a:pt x="105" y="23"/>
                    <a:pt x="105" y="53"/>
                  </a:cubicBezTo>
                </a:path>
              </a:pathLst>
            </a:custGeom>
            <a:solidFill>
              <a:srgbClr val="2428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5" name="任意多边形 9">
              <a:extLst>
                <a:ext uri="{FF2B5EF4-FFF2-40B4-BE49-F238E27FC236}">
                  <a16:creationId xmlns:a16="http://schemas.microsoft.com/office/drawing/2014/main" id="{7D8ADC29-2952-4E8B-B68A-DD3517EB10EA}"/>
                </a:ext>
              </a:extLst>
            </p:cNvPr>
            <p:cNvSpPr/>
            <p:nvPr/>
          </p:nvSpPr>
          <p:spPr bwMode="auto">
            <a:xfrm>
              <a:off x="5334000" y="4645025"/>
              <a:ext cx="2663825" cy="273050"/>
            </a:xfrm>
            <a:custGeom>
              <a:avLst/>
              <a:gdLst>
                <a:gd name="T0" fmla="*/ 49 w 706"/>
                <a:gd name="T1" fmla="*/ 0 h 72"/>
                <a:gd name="T2" fmla="*/ 49 w 706"/>
                <a:gd name="T3" fmla="*/ 27 h 72"/>
                <a:gd name="T4" fmla="*/ 0 w 706"/>
                <a:gd name="T5" fmla="*/ 72 h 72"/>
                <a:gd name="T6" fmla="*/ 0 w 706"/>
                <a:gd name="T7" fmla="*/ 72 h 72"/>
                <a:gd name="T8" fmla="*/ 633 w 706"/>
                <a:gd name="T9" fmla="*/ 72 h 72"/>
                <a:gd name="T10" fmla="*/ 706 w 706"/>
                <a:gd name="T11" fmla="*/ 0 h 72"/>
                <a:gd name="T12" fmla="*/ 706 w 706"/>
                <a:gd name="T13" fmla="*/ 0 h 72"/>
                <a:gd name="T14" fmla="*/ 49 w 706"/>
                <a:gd name="T15" fmla="*/ 0 h 72"/>
                <a:gd name="T16" fmla="*/ 49 w 706"/>
                <a:gd name="T1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6" h="72">
                  <a:moveTo>
                    <a:pt x="49" y="0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44"/>
                    <a:pt x="24" y="70"/>
                    <a:pt x="0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633" y="72"/>
                    <a:pt x="633" y="72"/>
                    <a:pt x="633" y="72"/>
                  </a:cubicBezTo>
                  <a:cubicBezTo>
                    <a:pt x="673" y="72"/>
                    <a:pt x="706" y="40"/>
                    <a:pt x="706" y="0"/>
                  </a:cubicBezTo>
                  <a:cubicBezTo>
                    <a:pt x="706" y="0"/>
                    <a:pt x="706" y="0"/>
                    <a:pt x="70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</a:path>
              </a:pathLst>
            </a:custGeom>
            <a:solidFill>
              <a:srgbClr val="68E1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6" name="任意多边形 10">
              <a:extLst>
                <a:ext uri="{FF2B5EF4-FFF2-40B4-BE49-F238E27FC236}">
                  <a16:creationId xmlns:a16="http://schemas.microsoft.com/office/drawing/2014/main" id="{E493BEE1-C9EC-461B-B75D-7EEAB2CEBE38}"/>
                </a:ext>
              </a:extLst>
            </p:cNvPr>
            <p:cNvSpPr/>
            <p:nvPr/>
          </p:nvSpPr>
          <p:spPr bwMode="auto">
            <a:xfrm>
              <a:off x="5334000" y="4645025"/>
              <a:ext cx="2663825" cy="273050"/>
            </a:xfrm>
            <a:custGeom>
              <a:avLst/>
              <a:gdLst>
                <a:gd name="T0" fmla="*/ 706 w 706"/>
                <a:gd name="T1" fmla="*/ 0 h 72"/>
                <a:gd name="T2" fmla="*/ 598 w 706"/>
                <a:gd name="T3" fmla="*/ 0 h 72"/>
                <a:gd name="T4" fmla="*/ 49 w 706"/>
                <a:gd name="T5" fmla="*/ 0 h 72"/>
                <a:gd name="T6" fmla="*/ 49 w 706"/>
                <a:gd name="T7" fmla="*/ 0 h 72"/>
                <a:gd name="T8" fmla="*/ 49 w 706"/>
                <a:gd name="T9" fmla="*/ 27 h 72"/>
                <a:gd name="T10" fmla="*/ 49 w 706"/>
                <a:gd name="T11" fmla="*/ 27 h 72"/>
                <a:gd name="T12" fmla="*/ 0 w 706"/>
                <a:gd name="T13" fmla="*/ 72 h 72"/>
                <a:gd name="T14" fmla="*/ 0 w 706"/>
                <a:gd name="T15" fmla="*/ 72 h 72"/>
                <a:gd name="T16" fmla="*/ 633 w 706"/>
                <a:gd name="T17" fmla="*/ 72 h 72"/>
                <a:gd name="T18" fmla="*/ 706 w 706"/>
                <a:gd name="T19" fmla="*/ 0 h 72"/>
                <a:gd name="T20" fmla="*/ 706 w 706"/>
                <a:gd name="T2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6" h="72">
                  <a:moveTo>
                    <a:pt x="706" y="0"/>
                  </a:moveTo>
                  <a:cubicBezTo>
                    <a:pt x="598" y="0"/>
                    <a:pt x="598" y="0"/>
                    <a:pt x="598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44"/>
                    <a:pt x="24" y="70"/>
                    <a:pt x="0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633" y="72"/>
                    <a:pt x="633" y="72"/>
                    <a:pt x="633" y="72"/>
                  </a:cubicBezTo>
                  <a:cubicBezTo>
                    <a:pt x="673" y="72"/>
                    <a:pt x="706" y="40"/>
                    <a:pt x="706" y="0"/>
                  </a:cubicBezTo>
                  <a:cubicBezTo>
                    <a:pt x="706" y="0"/>
                    <a:pt x="706" y="0"/>
                    <a:pt x="706" y="0"/>
                  </a:cubicBezTo>
                </a:path>
              </a:pathLst>
            </a:custGeom>
            <a:solidFill>
              <a:srgbClr val="B4F0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7" name="矩形 11">
              <a:extLst>
                <a:ext uri="{FF2B5EF4-FFF2-40B4-BE49-F238E27FC236}">
                  <a16:creationId xmlns:a16="http://schemas.microsoft.com/office/drawing/2014/main" id="{21463DF3-4515-4C82-AE27-A5AB829A1609}"/>
                </a:ext>
              </a:extLst>
            </p:cNvPr>
            <p:cNvSpPr/>
            <p:nvPr/>
          </p:nvSpPr>
          <p:spPr bwMode="auto">
            <a:xfrm>
              <a:off x="5443538" y="3886200"/>
              <a:ext cx="301625" cy="528638"/>
            </a:xfrm>
            <a:prstGeom prst="rect">
              <a:avLst/>
            </a:prstGeom>
            <a:solidFill>
              <a:srgbClr val="5BC6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8" name="矩形 12">
              <a:extLst>
                <a:ext uri="{FF2B5EF4-FFF2-40B4-BE49-F238E27FC236}">
                  <a16:creationId xmlns:a16="http://schemas.microsoft.com/office/drawing/2014/main" id="{BFC085C4-F229-40C8-A6D1-67934C123E64}"/>
                </a:ext>
              </a:extLst>
            </p:cNvPr>
            <p:cNvSpPr/>
            <p:nvPr/>
          </p:nvSpPr>
          <p:spPr bwMode="auto">
            <a:xfrm>
              <a:off x="5443538" y="3886200"/>
              <a:ext cx="301625" cy="528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9" name="矩形 13">
              <a:extLst>
                <a:ext uri="{FF2B5EF4-FFF2-40B4-BE49-F238E27FC236}">
                  <a16:creationId xmlns:a16="http://schemas.microsoft.com/office/drawing/2014/main" id="{28D10F68-C58D-4ED9-AF37-681B26B73298}"/>
                </a:ext>
              </a:extLst>
            </p:cNvPr>
            <p:cNvSpPr/>
            <p:nvPr/>
          </p:nvSpPr>
          <p:spPr bwMode="auto">
            <a:xfrm>
              <a:off x="5934075" y="3694113"/>
              <a:ext cx="301625" cy="720725"/>
            </a:xfrm>
            <a:prstGeom prst="rect">
              <a:avLst/>
            </a:prstGeom>
            <a:solidFill>
              <a:srgbClr val="5BC6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0" name="矩形 14">
              <a:extLst>
                <a:ext uri="{FF2B5EF4-FFF2-40B4-BE49-F238E27FC236}">
                  <a16:creationId xmlns:a16="http://schemas.microsoft.com/office/drawing/2014/main" id="{1091A4B2-0713-4162-9736-958E93283606}"/>
                </a:ext>
              </a:extLst>
            </p:cNvPr>
            <p:cNvSpPr/>
            <p:nvPr/>
          </p:nvSpPr>
          <p:spPr bwMode="auto">
            <a:xfrm>
              <a:off x="5934075" y="3694113"/>
              <a:ext cx="301625" cy="720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1" name="矩形 15">
              <a:extLst>
                <a:ext uri="{FF2B5EF4-FFF2-40B4-BE49-F238E27FC236}">
                  <a16:creationId xmlns:a16="http://schemas.microsoft.com/office/drawing/2014/main" id="{A1FCFF86-6A0A-4792-A871-A445F21010AF}"/>
                </a:ext>
              </a:extLst>
            </p:cNvPr>
            <p:cNvSpPr/>
            <p:nvPr/>
          </p:nvSpPr>
          <p:spPr bwMode="auto">
            <a:xfrm>
              <a:off x="6424613" y="3384550"/>
              <a:ext cx="301625" cy="1030288"/>
            </a:xfrm>
            <a:prstGeom prst="rect">
              <a:avLst/>
            </a:prstGeom>
            <a:solidFill>
              <a:srgbClr val="5BC6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2" name="矩形 16">
              <a:extLst>
                <a:ext uri="{FF2B5EF4-FFF2-40B4-BE49-F238E27FC236}">
                  <a16:creationId xmlns:a16="http://schemas.microsoft.com/office/drawing/2014/main" id="{E6A886E6-E583-48DA-BDC3-D8E868D2D5E4}"/>
                </a:ext>
              </a:extLst>
            </p:cNvPr>
            <p:cNvSpPr/>
            <p:nvPr/>
          </p:nvSpPr>
          <p:spPr bwMode="auto">
            <a:xfrm>
              <a:off x="6424613" y="3384550"/>
              <a:ext cx="301625" cy="1030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3" name="矩形 17">
              <a:extLst>
                <a:ext uri="{FF2B5EF4-FFF2-40B4-BE49-F238E27FC236}">
                  <a16:creationId xmlns:a16="http://schemas.microsoft.com/office/drawing/2014/main" id="{59335673-2C54-49C2-82AC-3011746B2007}"/>
                </a:ext>
              </a:extLst>
            </p:cNvPr>
            <p:cNvSpPr/>
            <p:nvPr/>
          </p:nvSpPr>
          <p:spPr bwMode="auto">
            <a:xfrm>
              <a:off x="6915150" y="4102100"/>
              <a:ext cx="301625" cy="312738"/>
            </a:xfrm>
            <a:prstGeom prst="rect">
              <a:avLst/>
            </a:prstGeom>
            <a:solidFill>
              <a:srgbClr val="5BC6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4" name="矩形 18">
              <a:extLst>
                <a:ext uri="{FF2B5EF4-FFF2-40B4-BE49-F238E27FC236}">
                  <a16:creationId xmlns:a16="http://schemas.microsoft.com/office/drawing/2014/main" id="{D9E753FF-B0F0-47D6-A0E3-DD338230F292}"/>
                </a:ext>
              </a:extLst>
            </p:cNvPr>
            <p:cNvSpPr/>
            <p:nvPr/>
          </p:nvSpPr>
          <p:spPr bwMode="auto">
            <a:xfrm>
              <a:off x="6915150" y="4102100"/>
              <a:ext cx="301625" cy="312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5" name="矩形 19">
              <a:extLst>
                <a:ext uri="{FF2B5EF4-FFF2-40B4-BE49-F238E27FC236}">
                  <a16:creationId xmlns:a16="http://schemas.microsoft.com/office/drawing/2014/main" id="{32E96FD4-3BF8-47AB-A2B9-B8A8A6432EBB}"/>
                </a:ext>
              </a:extLst>
            </p:cNvPr>
            <p:cNvSpPr/>
            <p:nvPr/>
          </p:nvSpPr>
          <p:spPr bwMode="auto">
            <a:xfrm>
              <a:off x="5737225" y="3201988"/>
              <a:ext cx="479425" cy="84138"/>
            </a:xfrm>
            <a:prstGeom prst="rect">
              <a:avLst/>
            </a:prstGeom>
            <a:solidFill>
              <a:srgbClr val="ADE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6" name="矩形 20">
              <a:extLst>
                <a:ext uri="{FF2B5EF4-FFF2-40B4-BE49-F238E27FC236}">
                  <a16:creationId xmlns:a16="http://schemas.microsoft.com/office/drawing/2014/main" id="{0036E939-FDD8-43AB-8B73-E8EA8417EB8B}"/>
                </a:ext>
              </a:extLst>
            </p:cNvPr>
            <p:cNvSpPr/>
            <p:nvPr/>
          </p:nvSpPr>
          <p:spPr bwMode="auto">
            <a:xfrm>
              <a:off x="5737225" y="3201988"/>
              <a:ext cx="47942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7" name="矩形 21">
              <a:extLst>
                <a:ext uri="{FF2B5EF4-FFF2-40B4-BE49-F238E27FC236}">
                  <a16:creationId xmlns:a16="http://schemas.microsoft.com/office/drawing/2014/main" id="{A917A854-478E-4F38-8D0A-AA432B97827B}"/>
                </a:ext>
              </a:extLst>
            </p:cNvPr>
            <p:cNvSpPr/>
            <p:nvPr/>
          </p:nvSpPr>
          <p:spPr bwMode="auto">
            <a:xfrm>
              <a:off x="5737225" y="3417888"/>
              <a:ext cx="479425" cy="82550"/>
            </a:xfrm>
            <a:prstGeom prst="rect">
              <a:avLst/>
            </a:prstGeom>
            <a:solidFill>
              <a:srgbClr val="ADE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8" name="矩形 22">
              <a:extLst>
                <a:ext uri="{FF2B5EF4-FFF2-40B4-BE49-F238E27FC236}">
                  <a16:creationId xmlns:a16="http://schemas.microsoft.com/office/drawing/2014/main" id="{FC95404E-D87E-4769-BEF1-08CC9C130329}"/>
                </a:ext>
              </a:extLst>
            </p:cNvPr>
            <p:cNvSpPr/>
            <p:nvPr/>
          </p:nvSpPr>
          <p:spPr bwMode="auto">
            <a:xfrm>
              <a:off x="5737225" y="3417888"/>
              <a:ext cx="47942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9" name="矩形 23">
              <a:extLst>
                <a:ext uri="{FF2B5EF4-FFF2-40B4-BE49-F238E27FC236}">
                  <a16:creationId xmlns:a16="http://schemas.microsoft.com/office/drawing/2014/main" id="{48198420-032C-4637-B30E-624B7D8AC38C}"/>
                </a:ext>
              </a:extLst>
            </p:cNvPr>
            <p:cNvSpPr/>
            <p:nvPr/>
          </p:nvSpPr>
          <p:spPr bwMode="auto">
            <a:xfrm>
              <a:off x="5443538" y="3201988"/>
              <a:ext cx="142875" cy="84138"/>
            </a:xfrm>
            <a:prstGeom prst="rect">
              <a:avLst/>
            </a:prstGeom>
            <a:solidFill>
              <a:srgbClr val="5DC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0" name="矩形 24">
              <a:extLst>
                <a:ext uri="{FF2B5EF4-FFF2-40B4-BE49-F238E27FC236}">
                  <a16:creationId xmlns:a16="http://schemas.microsoft.com/office/drawing/2014/main" id="{DB8B431F-7FF9-4891-AC6C-F3265A20B5D2}"/>
                </a:ext>
              </a:extLst>
            </p:cNvPr>
            <p:cNvSpPr/>
            <p:nvPr/>
          </p:nvSpPr>
          <p:spPr bwMode="auto">
            <a:xfrm>
              <a:off x="5443538" y="3201988"/>
              <a:ext cx="142875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1" name="矩形 25">
              <a:extLst>
                <a:ext uri="{FF2B5EF4-FFF2-40B4-BE49-F238E27FC236}">
                  <a16:creationId xmlns:a16="http://schemas.microsoft.com/office/drawing/2014/main" id="{BED306B7-9865-4784-AAF3-9E07290FD990}"/>
                </a:ext>
              </a:extLst>
            </p:cNvPr>
            <p:cNvSpPr/>
            <p:nvPr/>
          </p:nvSpPr>
          <p:spPr bwMode="auto">
            <a:xfrm>
              <a:off x="5443538" y="3417888"/>
              <a:ext cx="142875" cy="82550"/>
            </a:xfrm>
            <a:prstGeom prst="rect">
              <a:avLst/>
            </a:pr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2" name="任意多边形 26">
              <a:extLst>
                <a:ext uri="{FF2B5EF4-FFF2-40B4-BE49-F238E27FC236}">
                  <a16:creationId xmlns:a16="http://schemas.microsoft.com/office/drawing/2014/main" id="{B3B5F9BE-56BF-488C-8B23-34B0C3C10C95}"/>
                </a:ext>
              </a:extLst>
            </p:cNvPr>
            <p:cNvSpPr/>
            <p:nvPr/>
          </p:nvSpPr>
          <p:spPr bwMode="auto">
            <a:xfrm>
              <a:off x="5375275" y="2238375"/>
              <a:ext cx="690563" cy="692150"/>
            </a:xfrm>
            <a:custGeom>
              <a:avLst/>
              <a:gdLst>
                <a:gd name="T0" fmla="*/ 92 w 183"/>
                <a:gd name="T1" fmla="*/ 183 h 183"/>
                <a:gd name="T2" fmla="*/ 92 w 183"/>
                <a:gd name="T3" fmla="*/ 183 h 183"/>
                <a:gd name="T4" fmla="*/ 41 w 183"/>
                <a:gd name="T5" fmla="*/ 168 h 183"/>
                <a:gd name="T6" fmla="*/ 92 w 183"/>
                <a:gd name="T7" fmla="*/ 92 h 183"/>
                <a:gd name="T8" fmla="*/ 181 w 183"/>
                <a:gd name="T9" fmla="*/ 73 h 183"/>
                <a:gd name="T10" fmla="*/ 182 w 183"/>
                <a:gd name="T11" fmla="*/ 81 h 183"/>
                <a:gd name="T12" fmla="*/ 183 w 183"/>
                <a:gd name="T13" fmla="*/ 92 h 183"/>
                <a:gd name="T14" fmla="*/ 92 w 183"/>
                <a:gd name="T15" fmla="*/ 183 h 183"/>
                <a:gd name="T16" fmla="*/ 92 w 183"/>
                <a:gd name="T17" fmla="*/ 0 h 183"/>
                <a:gd name="T18" fmla="*/ 0 w 183"/>
                <a:gd name="T19" fmla="*/ 92 h 183"/>
                <a:gd name="T20" fmla="*/ 92 w 183"/>
                <a:gd name="T21" fmla="*/ 183 h 183"/>
                <a:gd name="T22" fmla="*/ 92 w 183"/>
                <a:gd name="T23" fmla="*/ 183 h 183"/>
                <a:gd name="T24" fmla="*/ 183 w 183"/>
                <a:gd name="T25" fmla="*/ 92 h 183"/>
                <a:gd name="T26" fmla="*/ 182 w 183"/>
                <a:gd name="T27" fmla="*/ 81 h 183"/>
                <a:gd name="T28" fmla="*/ 181 w 183"/>
                <a:gd name="T29" fmla="*/ 73 h 183"/>
                <a:gd name="T30" fmla="*/ 174 w 183"/>
                <a:gd name="T31" fmla="*/ 52 h 183"/>
                <a:gd name="T32" fmla="*/ 181 w 183"/>
                <a:gd name="T33" fmla="*/ 73 h 183"/>
                <a:gd name="T34" fmla="*/ 92 w 183"/>
                <a:gd name="T35" fmla="*/ 92 h 183"/>
                <a:gd name="T36" fmla="*/ 92 w 183"/>
                <a:gd name="T37" fmla="*/ 0 h 183"/>
                <a:gd name="T38" fmla="*/ 93 w 183"/>
                <a:gd name="T39" fmla="*/ 0 h 183"/>
                <a:gd name="T40" fmla="*/ 93 w 183"/>
                <a:gd name="T41" fmla="*/ 0 h 183"/>
                <a:gd name="T42" fmla="*/ 92 w 183"/>
                <a:gd name="T43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3" h="183">
                  <a:moveTo>
                    <a:pt x="92" y="183"/>
                  </a:moveTo>
                  <a:cubicBezTo>
                    <a:pt x="92" y="183"/>
                    <a:pt x="92" y="183"/>
                    <a:pt x="92" y="183"/>
                  </a:cubicBezTo>
                  <a:cubicBezTo>
                    <a:pt x="73" y="183"/>
                    <a:pt x="56" y="178"/>
                    <a:pt x="41" y="168"/>
                  </a:cubicBezTo>
                  <a:cubicBezTo>
                    <a:pt x="92" y="92"/>
                    <a:pt x="92" y="92"/>
                    <a:pt x="92" y="92"/>
                  </a:cubicBezTo>
                  <a:cubicBezTo>
                    <a:pt x="181" y="73"/>
                    <a:pt x="181" y="73"/>
                    <a:pt x="181" y="73"/>
                  </a:cubicBezTo>
                  <a:cubicBezTo>
                    <a:pt x="181" y="76"/>
                    <a:pt x="182" y="78"/>
                    <a:pt x="182" y="81"/>
                  </a:cubicBezTo>
                  <a:cubicBezTo>
                    <a:pt x="183" y="84"/>
                    <a:pt x="183" y="88"/>
                    <a:pt x="183" y="92"/>
                  </a:cubicBezTo>
                  <a:cubicBezTo>
                    <a:pt x="183" y="142"/>
                    <a:pt x="142" y="183"/>
                    <a:pt x="92" y="183"/>
                  </a:cubicBezTo>
                  <a:moveTo>
                    <a:pt x="92" y="0"/>
                  </a:moveTo>
                  <a:cubicBezTo>
                    <a:pt x="41" y="0"/>
                    <a:pt x="0" y="41"/>
                    <a:pt x="0" y="92"/>
                  </a:cubicBezTo>
                  <a:cubicBezTo>
                    <a:pt x="0" y="142"/>
                    <a:pt x="41" y="183"/>
                    <a:pt x="92" y="183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142" y="183"/>
                    <a:pt x="183" y="142"/>
                    <a:pt x="183" y="92"/>
                  </a:cubicBezTo>
                  <a:cubicBezTo>
                    <a:pt x="183" y="88"/>
                    <a:pt x="183" y="84"/>
                    <a:pt x="182" y="81"/>
                  </a:cubicBezTo>
                  <a:cubicBezTo>
                    <a:pt x="182" y="78"/>
                    <a:pt x="182" y="76"/>
                    <a:pt x="181" y="73"/>
                  </a:cubicBezTo>
                  <a:cubicBezTo>
                    <a:pt x="180" y="66"/>
                    <a:pt x="177" y="59"/>
                    <a:pt x="174" y="52"/>
                  </a:cubicBezTo>
                  <a:cubicBezTo>
                    <a:pt x="179" y="64"/>
                    <a:pt x="181" y="73"/>
                    <a:pt x="181" y="73"/>
                  </a:cubicBezTo>
                  <a:cubicBezTo>
                    <a:pt x="92" y="92"/>
                    <a:pt x="92" y="92"/>
                    <a:pt x="92" y="92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2" y="0"/>
                    <a:pt x="92" y="0"/>
                  </a:cubicBezTo>
                </a:path>
              </a:pathLst>
            </a:custGeom>
            <a:solidFill>
              <a:srgbClr val="ADE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3" name="任意多边形 27">
              <a:extLst>
                <a:ext uri="{FF2B5EF4-FFF2-40B4-BE49-F238E27FC236}">
                  <a16:creationId xmlns:a16="http://schemas.microsoft.com/office/drawing/2014/main" id="{E0AB6781-95CA-4EB3-86BC-2357A3CB5AE0}"/>
                </a:ext>
              </a:extLst>
            </p:cNvPr>
            <p:cNvSpPr/>
            <p:nvPr/>
          </p:nvSpPr>
          <p:spPr bwMode="auto">
            <a:xfrm>
              <a:off x="5722938" y="2238375"/>
              <a:ext cx="334963" cy="347663"/>
            </a:xfrm>
            <a:custGeom>
              <a:avLst/>
              <a:gdLst>
                <a:gd name="T0" fmla="*/ 0 w 89"/>
                <a:gd name="T1" fmla="*/ 0 h 92"/>
                <a:gd name="T2" fmla="*/ 0 w 89"/>
                <a:gd name="T3" fmla="*/ 92 h 92"/>
                <a:gd name="T4" fmla="*/ 89 w 89"/>
                <a:gd name="T5" fmla="*/ 73 h 92"/>
                <a:gd name="T6" fmla="*/ 0 w 89"/>
                <a:gd name="T7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" h="92">
                  <a:moveTo>
                    <a:pt x="0" y="0"/>
                  </a:moveTo>
                  <a:cubicBezTo>
                    <a:pt x="0" y="92"/>
                    <a:pt x="0" y="92"/>
                    <a:pt x="0" y="92"/>
                  </a:cubicBezTo>
                  <a:cubicBezTo>
                    <a:pt x="89" y="73"/>
                    <a:pt x="89" y="73"/>
                    <a:pt x="89" y="73"/>
                  </a:cubicBezTo>
                  <a:cubicBezTo>
                    <a:pt x="89" y="73"/>
                    <a:pt x="77" y="0"/>
                    <a:pt x="0" y="0"/>
                  </a:cubicBezTo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4" name="任意多边形 28">
              <a:extLst>
                <a:ext uri="{FF2B5EF4-FFF2-40B4-BE49-F238E27FC236}">
                  <a16:creationId xmlns:a16="http://schemas.microsoft.com/office/drawing/2014/main" id="{27F15C35-0D91-4EEF-845A-C65879BE3218}"/>
                </a:ext>
              </a:extLst>
            </p:cNvPr>
            <p:cNvSpPr/>
            <p:nvPr/>
          </p:nvSpPr>
          <p:spPr bwMode="auto">
            <a:xfrm>
              <a:off x="5529263" y="2514600"/>
              <a:ext cx="536575" cy="415925"/>
            </a:xfrm>
            <a:custGeom>
              <a:avLst/>
              <a:gdLst>
                <a:gd name="T0" fmla="*/ 140 w 142"/>
                <a:gd name="T1" fmla="*/ 0 h 110"/>
                <a:gd name="T2" fmla="*/ 51 w 142"/>
                <a:gd name="T3" fmla="*/ 19 h 110"/>
                <a:gd name="T4" fmla="*/ 0 w 142"/>
                <a:gd name="T5" fmla="*/ 95 h 110"/>
                <a:gd name="T6" fmla="*/ 51 w 142"/>
                <a:gd name="T7" fmla="*/ 110 h 110"/>
                <a:gd name="T8" fmla="*/ 51 w 142"/>
                <a:gd name="T9" fmla="*/ 110 h 110"/>
                <a:gd name="T10" fmla="*/ 142 w 142"/>
                <a:gd name="T11" fmla="*/ 19 h 110"/>
                <a:gd name="T12" fmla="*/ 141 w 142"/>
                <a:gd name="T13" fmla="*/ 8 h 110"/>
                <a:gd name="T14" fmla="*/ 140 w 142"/>
                <a:gd name="T1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110">
                  <a:moveTo>
                    <a:pt x="140" y="0"/>
                  </a:moveTo>
                  <a:cubicBezTo>
                    <a:pt x="51" y="19"/>
                    <a:pt x="51" y="19"/>
                    <a:pt x="51" y="19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15" y="105"/>
                    <a:pt x="32" y="110"/>
                    <a:pt x="51" y="110"/>
                  </a:cubicBezTo>
                  <a:cubicBezTo>
                    <a:pt x="51" y="110"/>
                    <a:pt x="51" y="110"/>
                    <a:pt x="51" y="110"/>
                  </a:cubicBezTo>
                  <a:cubicBezTo>
                    <a:pt x="101" y="110"/>
                    <a:pt x="142" y="69"/>
                    <a:pt x="142" y="19"/>
                  </a:cubicBezTo>
                  <a:cubicBezTo>
                    <a:pt x="142" y="15"/>
                    <a:pt x="142" y="11"/>
                    <a:pt x="141" y="8"/>
                  </a:cubicBezTo>
                  <a:cubicBezTo>
                    <a:pt x="141" y="5"/>
                    <a:pt x="140" y="3"/>
                    <a:pt x="140" y="0"/>
                  </a:cubicBezTo>
                </a:path>
              </a:pathLst>
            </a:custGeom>
            <a:solidFill>
              <a:srgbClr val="9BD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5" name="矩形 29">
              <a:extLst>
                <a:ext uri="{FF2B5EF4-FFF2-40B4-BE49-F238E27FC236}">
                  <a16:creationId xmlns:a16="http://schemas.microsoft.com/office/drawing/2014/main" id="{98107721-CC2E-4B1C-9759-05D740528FB7}"/>
                </a:ext>
              </a:extLst>
            </p:cNvPr>
            <p:cNvSpPr/>
            <p:nvPr/>
          </p:nvSpPr>
          <p:spPr bwMode="auto">
            <a:xfrm>
              <a:off x="6213475" y="2249488"/>
              <a:ext cx="1184275" cy="79375"/>
            </a:xfrm>
            <a:prstGeom prst="rect">
              <a:avLst/>
            </a:prstGeom>
            <a:solidFill>
              <a:srgbClr val="ADE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6" name="矩形 30">
              <a:extLst>
                <a:ext uri="{FF2B5EF4-FFF2-40B4-BE49-F238E27FC236}">
                  <a16:creationId xmlns:a16="http://schemas.microsoft.com/office/drawing/2014/main" id="{DF07D366-13DF-435F-914E-3218977C2D61}"/>
                </a:ext>
              </a:extLst>
            </p:cNvPr>
            <p:cNvSpPr/>
            <p:nvPr/>
          </p:nvSpPr>
          <p:spPr bwMode="auto">
            <a:xfrm>
              <a:off x="6213475" y="2249488"/>
              <a:ext cx="1184275" cy="79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7" name="矩形 31">
              <a:extLst>
                <a:ext uri="{FF2B5EF4-FFF2-40B4-BE49-F238E27FC236}">
                  <a16:creationId xmlns:a16="http://schemas.microsoft.com/office/drawing/2014/main" id="{D1A480B8-51A5-4360-A655-72125E36F0F4}"/>
                </a:ext>
              </a:extLst>
            </p:cNvPr>
            <p:cNvSpPr/>
            <p:nvPr/>
          </p:nvSpPr>
          <p:spPr bwMode="auto">
            <a:xfrm>
              <a:off x="6213475" y="2427288"/>
              <a:ext cx="1184275" cy="79375"/>
            </a:xfrm>
            <a:prstGeom prst="rect">
              <a:avLst/>
            </a:prstGeom>
            <a:solidFill>
              <a:srgbClr val="ADE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8" name="矩形 32">
              <a:extLst>
                <a:ext uri="{FF2B5EF4-FFF2-40B4-BE49-F238E27FC236}">
                  <a16:creationId xmlns:a16="http://schemas.microsoft.com/office/drawing/2014/main" id="{5FDBDDC5-1C15-4AE2-A88E-3698531CEF29}"/>
                </a:ext>
              </a:extLst>
            </p:cNvPr>
            <p:cNvSpPr/>
            <p:nvPr/>
          </p:nvSpPr>
          <p:spPr bwMode="auto">
            <a:xfrm>
              <a:off x="6213475" y="2427288"/>
              <a:ext cx="1184275" cy="79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9" name="矩形 33">
              <a:extLst>
                <a:ext uri="{FF2B5EF4-FFF2-40B4-BE49-F238E27FC236}">
                  <a16:creationId xmlns:a16="http://schemas.microsoft.com/office/drawing/2014/main" id="{6D950C17-FFE7-49F9-ABC1-0460E20AC936}"/>
                </a:ext>
              </a:extLst>
            </p:cNvPr>
            <p:cNvSpPr/>
            <p:nvPr/>
          </p:nvSpPr>
          <p:spPr bwMode="auto">
            <a:xfrm>
              <a:off x="6213475" y="2605088"/>
              <a:ext cx="1184275" cy="79375"/>
            </a:xfrm>
            <a:prstGeom prst="rect">
              <a:avLst/>
            </a:prstGeom>
            <a:solidFill>
              <a:srgbClr val="ADE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0" name="矩形 34">
              <a:extLst>
                <a:ext uri="{FF2B5EF4-FFF2-40B4-BE49-F238E27FC236}">
                  <a16:creationId xmlns:a16="http://schemas.microsoft.com/office/drawing/2014/main" id="{84E496F2-1856-4B19-9A4D-0E9062AD911A}"/>
                </a:ext>
              </a:extLst>
            </p:cNvPr>
            <p:cNvSpPr/>
            <p:nvPr/>
          </p:nvSpPr>
          <p:spPr bwMode="auto">
            <a:xfrm>
              <a:off x="6213475" y="2605088"/>
              <a:ext cx="1184275" cy="79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1" name="矩形 35">
              <a:extLst>
                <a:ext uri="{FF2B5EF4-FFF2-40B4-BE49-F238E27FC236}">
                  <a16:creationId xmlns:a16="http://schemas.microsoft.com/office/drawing/2014/main" id="{3C342889-1006-4B0A-99D3-9E1E14B5CEAC}"/>
                </a:ext>
              </a:extLst>
            </p:cNvPr>
            <p:cNvSpPr/>
            <p:nvPr/>
          </p:nvSpPr>
          <p:spPr bwMode="auto">
            <a:xfrm>
              <a:off x="6213475" y="2779713"/>
              <a:ext cx="682625" cy="82550"/>
            </a:xfrm>
            <a:prstGeom prst="rect">
              <a:avLst/>
            </a:prstGeom>
            <a:solidFill>
              <a:srgbClr val="ADE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2" name="矩形 36">
              <a:extLst>
                <a:ext uri="{FF2B5EF4-FFF2-40B4-BE49-F238E27FC236}">
                  <a16:creationId xmlns:a16="http://schemas.microsoft.com/office/drawing/2014/main" id="{10087BC6-6A38-4625-BEDC-6890B6BAA74C}"/>
                </a:ext>
              </a:extLst>
            </p:cNvPr>
            <p:cNvSpPr/>
            <p:nvPr/>
          </p:nvSpPr>
          <p:spPr bwMode="auto">
            <a:xfrm>
              <a:off x="6213475" y="2779713"/>
              <a:ext cx="682625" cy="8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3" name="任意多边形 37">
              <a:extLst>
                <a:ext uri="{FF2B5EF4-FFF2-40B4-BE49-F238E27FC236}">
                  <a16:creationId xmlns:a16="http://schemas.microsoft.com/office/drawing/2014/main" id="{1923E695-5D59-446C-B4CA-A34841CF5E78}"/>
                </a:ext>
              </a:extLst>
            </p:cNvPr>
            <p:cNvSpPr/>
            <p:nvPr/>
          </p:nvSpPr>
          <p:spPr bwMode="auto">
            <a:xfrm>
              <a:off x="6770688" y="3100388"/>
              <a:ext cx="815975" cy="1001713"/>
            </a:xfrm>
            <a:custGeom>
              <a:avLst/>
              <a:gdLst>
                <a:gd name="T0" fmla="*/ 514 w 514"/>
                <a:gd name="T1" fmla="*/ 559 h 631"/>
                <a:gd name="T2" fmla="*/ 281 w 514"/>
                <a:gd name="T3" fmla="*/ 559 h 631"/>
                <a:gd name="T4" fmla="*/ 281 w 514"/>
                <a:gd name="T5" fmla="*/ 631 h 631"/>
                <a:gd name="T6" fmla="*/ 514 w 514"/>
                <a:gd name="T7" fmla="*/ 631 h 631"/>
                <a:gd name="T8" fmla="*/ 514 w 514"/>
                <a:gd name="T9" fmla="*/ 559 h 631"/>
                <a:gd name="T10" fmla="*/ 514 w 514"/>
                <a:gd name="T11" fmla="*/ 0 h 631"/>
                <a:gd name="T12" fmla="*/ 0 w 514"/>
                <a:gd name="T13" fmla="*/ 0 h 631"/>
                <a:gd name="T14" fmla="*/ 0 w 514"/>
                <a:gd name="T15" fmla="*/ 631 h 631"/>
                <a:gd name="T16" fmla="*/ 91 w 514"/>
                <a:gd name="T17" fmla="*/ 631 h 631"/>
                <a:gd name="T18" fmla="*/ 91 w 514"/>
                <a:gd name="T19" fmla="*/ 559 h 631"/>
                <a:gd name="T20" fmla="*/ 53 w 514"/>
                <a:gd name="T21" fmla="*/ 559 h 631"/>
                <a:gd name="T22" fmla="*/ 53 w 514"/>
                <a:gd name="T23" fmla="*/ 14 h 631"/>
                <a:gd name="T24" fmla="*/ 91 w 514"/>
                <a:gd name="T25" fmla="*/ 14 h 631"/>
                <a:gd name="T26" fmla="*/ 91 w 514"/>
                <a:gd name="T27" fmla="*/ 0 h 631"/>
                <a:gd name="T28" fmla="*/ 281 w 514"/>
                <a:gd name="T29" fmla="*/ 0 h 631"/>
                <a:gd name="T30" fmla="*/ 281 w 514"/>
                <a:gd name="T31" fmla="*/ 14 h 631"/>
                <a:gd name="T32" fmla="*/ 514 w 514"/>
                <a:gd name="T33" fmla="*/ 14 h 631"/>
                <a:gd name="T34" fmla="*/ 514 w 514"/>
                <a:gd name="T35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4" h="631">
                  <a:moveTo>
                    <a:pt x="514" y="559"/>
                  </a:moveTo>
                  <a:lnTo>
                    <a:pt x="281" y="559"/>
                  </a:lnTo>
                  <a:lnTo>
                    <a:pt x="281" y="631"/>
                  </a:lnTo>
                  <a:lnTo>
                    <a:pt x="514" y="631"/>
                  </a:lnTo>
                  <a:lnTo>
                    <a:pt x="514" y="559"/>
                  </a:lnTo>
                  <a:close/>
                  <a:moveTo>
                    <a:pt x="514" y="0"/>
                  </a:moveTo>
                  <a:lnTo>
                    <a:pt x="0" y="0"/>
                  </a:lnTo>
                  <a:lnTo>
                    <a:pt x="0" y="631"/>
                  </a:lnTo>
                  <a:lnTo>
                    <a:pt x="91" y="631"/>
                  </a:lnTo>
                  <a:lnTo>
                    <a:pt x="91" y="559"/>
                  </a:lnTo>
                  <a:lnTo>
                    <a:pt x="53" y="559"/>
                  </a:lnTo>
                  <a:lnTo>
                    <a:pt x="53" y="14"/>
                  </a:lnTo>
                  <a:lnTo>
                    <a:pt x="91" y="14"/>
                  </a:lnTo>
                  <a:lnTo>
                    <a:pt x="91" y="0"/>
                  </a:lnTo>
                  <a:lnTo>
                    <a:pt x="281" y="0"/>
                  </a:lnTo>
                  <a:lnTo>
                    <a:pt x="281" y="14"/>
                  </a:lnTo>
                  <a:lnTo>
                    <a:pt x="514" y="14"/>
                  </a:lnTo>
                  <a:lnTo>
                    <a:pt x="514" y="0"/>
                  </a:lnTo>
                  <a:close/>
                </a:path>
              </a:pathLst>
            </a:custGeom>
            <a:solidFill>
              <a:srgbClr val="5DC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4" name="任意多边形 38">
              <a:extLst>
                <a:ext uri="{FF2B5EF4-FFF2-40B4-BE49-F238E27FC236}">
                  <a16:creationId xmlns:a16="http://schemas.microsoft.com/office/drawing/2014/main" id="{60E76C55-DC3D-4234-AD54-BC5B0BFFCBF5}"/>
                </a:ext>
              </a:extLst>
            </p:cNvPr>
            <p:cNvSpPr/>
            <p:nvPr/>
          </p:nvSpPr>
          <p:spPr bwMode="auto">
            <a:xfrm>
              <a:off x="6770688" y="3100388"/>
              <a:ext cx="815975" cy="1001713"/>
            </a:xfrm>
            <a:custGeom>
              <a:avLst/>
              <a:gdLst>
                <a:gd name="T0" fmla="*/ 514 w 514"/>
                <a:gd name="T1" fmla="*/ 559 h 631"/>
                <a:gd name="T2" fmla="*/ 281 w 514"/>
                <a:gd name="T3" fmla="*/ 559 h 631"/>
                <a:gd name="T4" fmla="*/ 281 w 514"/>
                <a:gd name="T5" fmla="*/ 631 h 631"/>
                <a:gd name="T6" fmla="*/ 514 w 514"/>
                <a:gd name="T7" fmla="*/ 631 h 631"/>
                <a:gd name="T8" fmla="*/ 514 w 514"/>
                <a:gd name="T9" fmla="*/ 559 h 631"/>
                <a:gd name="T10" fmla="*/ 514 w 514"/>
                <a:gd name="T11" fmla="*/ 0 h 631"/>
                <a:gd name="T12" fmla="*/ 0 w 514"/>
                <a:gd name="T13" fmla="*/ 0 h 631"/>
                <a:gd name="T14" fmla="*/ 0 w 514"/>
                <a:gd name="T15" fmla="*/ 631 h 631"/>
                <a:gd name="T16" fmla="*/ 91 w 514"/>
                <a:gd name="T17" fmla="*/ 631 h 631"/>
                <a:gd name="T18" fmla="*/ 91 w 514"/>
                <a:gd name="T19" fmla="*/ 559 h 631"/>
                <a:gd name="T20" fmla="*/ 53 w 514"/>
                <a:gd name="T21" fmla="*/ 559 h 631"/>
                <a:gd name="T22" fmla="*/ 53 w 514"/>
                <a:gd name="T23" fmla="*/ 14 h 631"/>
                <a:gd name="T24" fmla="*/ 91 w 514"/>
                <a:gd name="T25" fmla="*/ 14 h 631"/>
                <a:gd name="T26" fmla="*/ 91 w 514"/>
                <a:gd name="T27" fmla="*/ 0 h 631"/>
                <a:gd name="T28" fmla="*/ 281 w 514"/>
                <a:gd name="T29" fmla="*/ 0 h 631"/>
                <a:gd name="T30" fmla="*/ 281 w 514"/>
                <a:gd name="T31" fmla="*/ 14 h 631"/>
                <a:gd name="T32" fmla="*/ 514 w 514"/>
                <a:gd name="T33" fmla="*/ 14 h 631"/>
                <a:gd name="T34" fmla="*/ 514 w 514"/>
                <a:gd name="T35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4" h="631">
                  <a:moveTo>
                    <a:pt x="514" y="559"/>
                  </a:moveTo>
                  <a:lnTo>
                    <a:pt x="281" y="559"/>
                  </a:lnTo>
                  <a:lnTo>
                    <a:pt x="281" y="631"/>
                  </a:lnTo>
                  <a:lnTo>
                    <a:pt x="514" y="631"/>
                  </a:lnTo>
                  <a:lnTo>
                    <a:pt x="514" y="559"/>
                  </a:lnTo>
                  <a:moveTo>
                    <a:pt x="514" y="0"/>
                  </a:moveTo>
                  <a:lnTo>
                    <a:pt x="0" y="0"/>
                  </a:lnTo>
                  <a:lnTo>
                    <a:pt x="0" y="631"/>
                  </a:lnTo>
                  <a:lnTo>
                    <a:pt x="91" y="631"/>
                  </a:lnTo>
                  <a:lnTo>
                    <a:pt x="91" y="559"/>
                  </a:lnTo>
                  <a:lnTo>
                    <a:pt x="53" y="559"/>
                  </a:lnTo>
                  <a:lnTo>
                    <a:pt x="53" y="14"/>
                  </a:lnTo>
                  <a:lnTo>
                    <a:pt x="91" y="14"/>
                  </a:lnTo>
                  <a:lnTo>
                    <a:pt x="91" y="0"/>
                  </a:lnTo>
                  <a:lnTo>
                    <a:pt x="281" y="0"/>
                  </a:lnTo>
                  <a:lnTo>
                    <a:pt x="281" y="14"/>
                  </a:lnTo>
                  <a:lnTo>
                    <a:pt x="514" y="14"/>
                  </a:lnTo>
                  <a:lnTo>
                    <a:pt x="5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5" name="任意多边形 39">
              <a:extLst>
                <a:ext uri="{FF2B5EF4-FFF2-40B4-BE49-F238E27FC236}">
                  <a16:creationId xmlns:a16="http://schemas.microsoft.com/office/drawing/2014/main" id="{7EA6DE27-969D-4A07-A087-57E12E1161C0}"/>
                </a:ext>
              </a:extLst>
            </p:cNvPr>
            <p:cNvSpPr/>
            <p:nvPr/>
          </p:nvSpPr>
          <p:spPr bwMode="auto">
            <a:xfrm>
              <a:off x="6915150" y="3100388"/>
              <a:ext cx="301625" cy="1001713"/>
            </a:xfrm>
            <a:custGeom>
              <a:avLst/>
              <a:gdLst>
                <a:gd name="T0" fmla="*/ 190 w 190"/>
                <a:gd name="T1" fmla="*/ 559 h 631"/>
                <a:gd name="T2" fmla="*/ 0 w 190"/>
                <a:gd name="T3" fmla="*/ 559 h 631"/>
                <a:gd name="T4" fmla="*/ 0 w 190"/>
                <a:gd name="T5" fmla="*/ 631 h 631"/>
                <a:gd name="T6" fmla="*/ 190 w 190"/>
                <a:gd name="T7" fmla="*/ 631 h 631"/>
                <a:gd name="T8" fmla="*/ 190 w 190"/>
                <a:gd name="T9" fmla="*/ 559 h 631"/>
                <a:gd name="T10" fmla="*/ 190 w 190"/>
                <a:gd name="T11" fmla="*/ 0 h 631"/>
                <a:gd name="T12" fmla="*/ 0 w 190"/>
                <a:gd name="T13" fmla="*/ 0 h 631"/>
                <a:gd name="T14" fmla="*/ 0 w 190"/>
                <a:gd name="T15" fmla="*/ 14 h 631"/>
                <a:gd name="T16" fmla="*/ 190 w 190"/>
                <a:gd name="T17" fmla="*/ 14 h 631"/>
                <a:gd name="T18" fmla="*/ 190 w 190"/>
                <a:gd name="T19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631">
                  <a:moveTo>
                    <a:pt x="190" y="559"/>
                  </a:moveTo>
                  <a:lnTo>
                    <a:pt x="0" y="559"/>
                  </a:lnTo>
                  <a:lnTo>
                    <a:pt x="0" y="631"/>
                  </a:lnTo>
                  <a:lnTo>
                    <a:pt x="190" y="631"/>
                  </a:lnTo>
                  <a:lnTo>
                    <a:pt x="190" y="559"/>
                  </a:lnTo>
                  <a:close/>
                  <a:moveTo>
                    <a:pt x="190" y="0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190" y="14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52B2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6" name="任意多边形 40">
              <a:extLst>
                <a:ext uri="{FF2B5EF4-FFF2-40B4-BE49-F238E27FC236}">
                  <a16:creationId xmlns:a16="http://schemas.microsoft.com/office/drawing/2014/main" id="{9E813F30-5F7A-4F52-9157-09D626906C1A}"/>
                </a:ext>
              </a:extLst>
            </p:cNvPr>
            <p:cNvSpPr/>
            <p:nvPr/>
          </p:nvSpPr>
          <p:spPr bwMode="auto">
            <a:xfrm>
              <a:off x="6915150" y="3100388"/>
              <a:ext cx="301625" cy="1001713"/>
            </a:xfrm>
            <a:custGeom>
              <a:avLst/>
              <a:gdLst>
                <a:gd name="T0" fmla="*/ 190 w 190"/>
                <a:gd name="T1" fmla="*/ 559 h 631"/>
                <a:gd name="T2" fmla="*/ 0 w 190"/>
                <a:gd name="T3" fmla="*/ 559 h 631"/>
                <a:gd name="T4" fmla="*/ 0 w 190"/>
                <a:gd name="T5" fmla="*/ 631 h 631"/>
                <a:gd name="T6" fmla="*/ 190 w 190"/>
                <a:gd name="T7" fmla="*/ 631 h 631"/>
                <a:gd name="T8" fmla="*/ 190 w 190"/>
                <a:gd name="T9" fmla="*/ 559 h 631"/>
                <a:gd name="T10" fmla="*/ 190 w 190"/>
                <a:gd name="T11" fmla="*/ 0 h 631"/>
                <a:gd name="T12" fmla="*/ 0 w 190"/>
                <a:gd name="T13" fmla="*/ 0 h 631"/>
                <a:gd name="T14" fmla="*/ 0 w 190"/>
                <a:gd name="T15" fmla="*/ 14 h 631"/>
                <a:gd name="T16" fmla="*/ 190 w 190"/>
                <a:gd name="T17" fmla="*/ 14 h 631"/>
                <a:gd name="T18" fmla="*/ 190 w 190"/>
                <a:gd name="T19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631">
                  <a:moveTo>
                    <a:pt x="190" y="559"/>
                  </a:moveTo>
                  <a:lnTo>
                    <a:pt x="0" y="559"/>
                  </a:lnTo>
                  <a:lnTo>
                    <a:pt x="0" y="631"/>
                  </a:lnTo>
                  <a:lnTo>
                    <a:pt x="190" y="631"/>
                  </a:lnTo>
                  <a:lnTo>
                    <a:pt x="190" y="559"/>
                  </a:lnTo>
                  <a:moveTo>
                    <a:pt x="190" y="0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190" y="14"/>
                  </a:lnTo>
                  <a:lnTo>
                    <a:pt x="19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7" name="矩形 41">
              <a:extLst>
                <a:ext uri="{FF2B5EF4-FFF2-40B4-BE49-F238E27FC236}">
                  <a16:creationId xmlns:a16="http://schemas.microsoft.com/office/drawing/2014/main" id="{62E4181A-059F-49F5-817D-BF3604925CA2}"/>
                </a:ext>
              </a:extLst>
            </p:cNvPr>
            <p:cNvSpPr/>
            <p:nvPr/>
          </p:nvSpPr>
          <p:spPr bwMode="auto">
            <a:xfrm>
              <a:off x="6854825" y="3122613"/>
              <a:ext cx="1112838" cy="865188"/>
            </a:xfrm>
            <a:prstGeom prst="rect">
              <a:avLst/>
            </a:prstGeom>
            <a:solidFill>
              <a:srgbClr val="2428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8" name="矩形 42">
              <a:extLst>
                <a:ext uri="{FF2B5EF4-FFF2-40B4-BE49-F238E27FC236}">
                  <a16:creationId xmlns:a16="http://schemas.microsoft.com/office/drawing/2014/main" id="{5AF4DA7F-71E9-4832-8436-B9A7270C8EB0}"/>
                </a:ext>
              </a:extLst>
            </p:cNvPr>
            <p:cNvSpPr/>
            <p:nvPr/>
          </p:nvSpPr>
          <p:spPr bwMode="auto">
            <a:xfrm>
              <a:off x="6854825" y="3122613"/>
              <a:ext cx="1112838" cy="865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9" name="矩形 43">
              <a:extLst>
                <a:ext uri="{FF2B5EF4-FFF2-40B4-BE49-F238E27FC236}">
                  <a16:creationId xmlns:a16="http://schemas.microsoft.com/office/drawing/2014/main" id="{D96612BB-8D01-406F-B7D8-3CA1826092C0}"/>
                </a:ext>
              </a:extLst>
            </p:cNvPr>
            <p:cNvSpPr/>
            <p:nvPr/>
          </p:nvSpPr>
          <p:spPr bwMode="auto">
            <a:xfrm>
              <a:off x="6854825" y="3009900"/>
              <a:ext cx="1112838" cy="112713"/>
            </a:xfrm>
            <a:prstGeom prst="rect">
              <a:avLst/>
            </a:pr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0" name="任意多边形 44">
              <a:extLst>
                <a:ext uri="{FF2B5EF4-FFF2-40B4-BE49-F238E27FC236}">
                  <a16:creationId xmlns:a16="http://schemas.microsoft.com/office/drawing/2014/main" id="{418B4833-2D21-4C21-8055-36647F5528DD}"/>
                </a:ext>
              </a:extLst>
            </p:cNvPr>
            <p:cNvSpPr/>
            <p:nvPr/>
          </p:nvSpPr>
          <p:spPr bwMode="auto">
            <a:xfrm>
              <a:off x="7058025" y="3209925"/>
              <a:ext cx="682625" cy="665163"/>
            </a:xfrm>
            <a:custGeom>
              <a:avLst/>
              <a:gdLst>
                <a:gd name="T0" fmla="*/ 49 w 181"/>
                <a:gd name="T1" fmla="*/ 154 h 176"/>
                <a:gd name="T2" fmla="*/ 42 w 181"/>
                <a:gd name="T3" fmla="*/ 149 h 176"/>
                <a:gd name="T4" fmla="*/ 39 w 181"/>
                <a:gd name="T5" fmla="*/ 146 h 176"/>
                <a:gd name="T6" fmla="*/ 33 w 181"/>
                <a:gd name="T7" fmla="*/ 140 h 176"/>
                <a:gd name="T8" fmla="*/ 68 w 181"/>
                <a:gd name="T9" fmla="*/ 163 h 176"/>
                <a:gd name="T10" fmla="*/ 60 w 181"/>
                <a:gd name="T11" fmla="*/ 160 h 176"/>
                <a:gd name="T12" fmla="*/ 53 w 181"/>
                <a:gd name="T13" fmla="*/ 157 h 176"/>
                <a:gd name="T14" fmla="*/ 155 w 181"/>
                <a:gd name="T15" fmla="*/ 139 h 176"/>
                <a:gd name="T16" fmla="*/ 151 w 181"/>
                <a:gd name="T17" fmla="*/ 143 h 176"/>
                <a:gd name="T18" fmla="*/ 145 w 181"/>
                <a:gd name="T19" fmla="*/ 149 h 176"/>
                <a:gd name="T20" fmla="*/ 141 w 181"/>
                <a:gd name="T21" fmla="*/ 152 h 176"/>
                <a:gd name="T22" fmla="*/ 135 w 181"/>
                <a:gd name="T23" fmla="*/ 156 h 176"/>
                <a:gd name="T24" fmla="*/ 127 w 181"/>
                <a:gd name="T25" fmla="*/ 160 h 176"/>
                <a:gd name="T26" fmla="*/ 120 w 181"/>
                <a:gd name="T27" fmla="*/ 163 h 176"/>
                <a:gd name="T28" fmla="*/ 59 w 181"/>
                <a:gd name="T29" fmla="*/ 129 h 176"/>
                <a:gd name="T30" fmla="*/ 97 w 181"/>
                <a:gd name="T31" fmla="*/ 167 h 176"/>
                <a:gd name="T32" fmla="*/ 97 w 181"/>
                <a:gd name="T33" fmla="*/ 167 h 176"/>
                <a:gd name="T34" fmla="*/ 44 w 181"/>
                <a:gd name="T35" fmla="*/ 92 h 176"/>
                <a:gd name="T36" fmla="*/ 57 w 181"/>
                <a:gd name="T37" fmla="*/ 121 h 176"/>
                <a:gd name="T38" fmla="*/ 89 w 181"/>
                <a:gd name="T39" fmla="*/ 117 h 176"/>
                <a:gd name="T40" fmla="*/ 97 w 181"/>
                <a:gd name="T41" fmla="*/ 117 h 176"/>
                <a:gd name="T42" fmla="*/ 130 w 181"/>
                <a:gd name="T43" fmla="*/ 121 h 176"/>
                <a:gd name="T44" fmla="*/ 142 w 181"/>
                <a:gd name="T45" fmla="*/ 92 h 176"/>
                <a:gd name="T46" fmla="*/ 138 w 181"/>
                <a:gd name="T47" fmla="*/ 124 h 176"/>
                <a:gd name="T48" fmla="*/ 57 w 181"/>
                <a:gd name="T49" fmla="*/ 55 h 176"/>
                <a:gd name="T50" fmla="*/ 53 w 181"/>
                <a:gd name="T51" fmla="*/ 84 h 176"/>
                <a:gd name="T52" fmla="*/ 130 w 181"/>
                <a:gd name="T53" fmla="*/ 55 h 176"/>
                <a:gd name="T54" fmla="*/ 14 w 181"/>
                <a:gd name="T55" fmla="*/ 84 h 176"/>
                <a:gd name="T56" fmla="*/ 44 w 181"/>
                <a:gd name="T57" fmla="*/ 84 h 176"/>
                <a:gd name="T58" fmla="*/ 138 w 181"/>
                <a:gd name="T59" fmla="*/ 52 h 176"/>
                <a:gd name="T60" fmla="*/ 142 w 181"/>
                <a:gd name="T61" fmla="*/ 84 h 176"/>
                <a:gd name="T62" fmla="*/ 33 w 181"/>
                <a:gd name="T63" fmla="*/ 36 h 176"/>
                <a:gd name="T64" fmla="*/ 39 w 181"/>
                <a:gd name="T65" fmla="*/ 30 h 176"/>
                <a:gd name="T66" fmla="*/ 42 w 181"/>
                <a:gd name="T67" fmla="*/ 27 h 176"/>
                <a:gd name="T68" fmla="*/ 49 w 181"/>
                <a:gd name="T69" fmla="*/ 22 h 176"/>
                <a:gd name="T70" fmla="*/ 53 w 181"/>
                <a:gd name="T71" fmla="*/ 19 h 176"/>
                <a:gd name="T72" fmla="*/ 63 w 181"/>
                <a:gd name="T73" fmla="*/ 14 h 176"/>
                <a:gd name="T74" fmla="*/ 68 w 181"/>
                <a:gd name="T75" fmla="*/ 13 h 176"/>
                <a:gd name="T76" fmla="*/ 118 w 181"/>
                <a:gd name="T77" fmla="*/ 12 h 176"/>
                <a:gd name="T78" fmla="*/ 123 w 181"/>
                <a:gd name="T79" fmla="*/ 14 h 176"/>
                <a:gd name="T80" fmla="*/ 134 w 181"/>
                <a:gd name="T81" fmla="*/ 19 h 176"/>
                <a:gd name="T82" fmla="*/ 138 w 181"/>
                <a:gd name="T83" fmla="*/ 21 h 176"/>
                <a:gd name="T84" fmla="*/ 144 w 181"/>
                <a:gd name="T85" fmla="*/ 26 h 176"/>
                <a:gd name="T86" fmla="*/ 148 w 181"/>
                <a:gd name="T87" fmla="*/ 30 h 176"/>
                <a:gd name="T88" fmla="*/ 154 w 181"/>
                <a:gd name="T89" fmla="*/ 36 h 176"/>
                <a:gd name="T90" fmla="*/ 59 w 181"/>
                <a:gd name="T91" fmla="*/ 47 h 176"/>
                <a:gd name="T92" fmla="*/ 97 w 181"/>
                <a:gd name="T93" fmla="*/ 51 h 176"/>
                <a:gd name="T94" fmla="*/ 97 w 181"/>
                <a:gd name="T95" fmla="*/ 51 h 176"/>
                <a:gd name="T96" fmla="*/ 93 w 181"/>
                <a:gd name="T97" fmla="*/ 0 h 176"/>
                <a:gd name="T98" fmla="*/ 63 w 181"/>
                <a:gd name="T99" fmla="*/ 5 h 176"/>
                <a:gd name="T100" fmla="*/ 21 w 181"/>
                <a:gd name="T101" fmla="*/ 138 h 176"/>
                <a:gd name="T102" fmla="*/ 93 w 181"/>
                <a:gd name="T103" fmla="*/ 176 h 176"/>
                <a:gd name="T104" fmla="*/ 113 w 181"/>
                <a:gd name="T105" fmla="*/ 174 h 176"/>
                <a:gd name="T106" fmla="*/ 126 w 181"/>
                <a:gd name="T107" fmla="*/ 169 h 176"/>
                <a:gd name="T108" fmla="*/ 155 w 181"/>
                <a:gd name="T109" fmla="*/ 151 h 176"/>
                <a:gd name="T110" fmla="*/ 166 w 181"/>
                <a:gd name="T111" fmla="*/ 138 h 176"/>
                <a:gd name="T112" fmla="*/ 163 w 181"/>
                <a:gd name="T113" fmla="*/ 3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1" h="176">
                  <a:moveTo>
                    <a:pt x="53" y="157"/>
                  </a:moveTo>
                  <a:cubicBezTo>
                    <a:pt x="51" y="156"/>
                    <a:pt x="50" y="155"/>
                    <a:pt x="49" y="155"/>
                  </a:cubicBezTo>
                  <a:cubicBezTo>
                    <a:pt x="49" y="154"/>
                    <a:pt x="49" y="154"/>
                    <a:pt x="49" y="154"/>
                  </a:cubicBezTo>
                  <a:cubicBezTo>
                    <a:pt x="48" y="154"/>
                    <a:pt x="47" y="153"/>
                    <a:pt x="46" y="152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41" y="148"/>
                    <a:pt x="40" y="147"/>
                    <a:pt x="39" y="147"/>
                  </a:cubicBezTo>
                  <a:cubicBezTo>
                    <a:pt x="39" y="146"/>
                    <a:pt x="39" y="146"/>
                    <a:pt x="39" y="146"/>
                  </a:cubicBezTo>
                  <a:cubicBezTo>
                    <a:pt x="38" y="145"/>
                    <a:pt x="37" y="144"/>
                    <a:pt x="36" y="144"/>
                  </a:cubicBezTo>
                  <a:cubicBezTo>
                    <a:pt x="36" y="143"/>
                    <a:pt x="36" y="143"/>
                    <a:pt x="36" y="143"/>
                  </a:cubicBezTo>
                  <a:cubicBezTo>
                    <a:pt x="35" y="142"/>
                    <a:pt x="34" y="141"/>
                    <a:pt x="33" y="140"/>
                  </a:cubicBezTo>
                  <a:cubicBezTo>
                    <a:pt x="39" y="137"/>
                    <a:pt x="45" y="134"/>
                    <a:pt x="51" y="132"/>
                  </a:cubicBezTo>
                  <a:cubicBezTo>
                    <a:pt x="54" y="144"/>
                    <a:pt x="60" y="155"/>
                    <a:pt x="68" y="164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6" y="163"/>
                    <a:pt x="65" y="163"/>
                    <a:pt x="64" y="162"/>
                  </a:cubicBezTo>
                  <a:cubicBezTo>
                    <a:pt x="64" y="162"/>
                    <a:pt x="64" y="162"/>
                    <a:pt x="64" y="162"/>
                  </a:cubicBezTo>
                  <a:cubicBezTo>
                    <a:pt x="62" y="162"/>
                    <a:pt x="61" y="161"/>
                    <a:pt x="60" y="160"/>
                  </a:cubicBezTo>
                  <a:cubicBezTo>
                    <a:pt x="59" y="160"/>
                    <a:pt x="58" y="159"/>
                    <a:pt x="56" y="159"/>
                  </a:cubicBezTo>
                  <a:cubicBezTo>
                    <a:pt x="55" y="158"/>
                    <a:pt x="54" y="157"/>
                    <a:pt x="53" y="157"/>
                  </a:cubicBezTo>
                  <a:cubicBezTo>
                    <a:pt x="53" y="157"/>
                    <a:pt x="53" y="157"/>
                    <a:pt x="53" y="157"/>
                  </a:cubicBezTo>
                  <a:moveTo>
                    <a:pt x="119" y="163"/>
                  </a:moveTo>
                  <a:cubicBezTo>
                    <a:pt x="127" y="154"/>
                    <a:pt x="133" y="143"/>
                    <a:pt x="137" y="131"/>
                  </a:cubicBezTo>
                  <a:cubicBezTo>
                    <a:pt x="143" y="133"/>
                    <a:pt x="149" y="136"/>
                    <a:pt x="155" y="139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1"/>
                    <a:pt x="152" y="142"/>
                    <a:pt x="151" y="143"/>
                  </a:cubicBezTo>
                  <a:cubicBezTo>
                    <a:pt x="151" y="143"/>
                    <a:pt x="151" y="143"/>
                    <a:pt x="151" y="143"/>
                  </a:cubicBezTo>
                  <a:cubicBezTo>
                    <a:pt x="150" y="144"/>
                    <a:pt x="149" y="145"/>
                    <a:pt x="148" y="146"/>
                  </a:cubicBezTo>
                  <a:cubicBezTo>
                    <a:pt x="148" y="146"/>
                    <a:pt x="148" y="146"/>
                    <a:pt x="148" y="146"/>
                  </a:cubicBezTo>
                  <a:cubicBezTo>
                    <a:pt x="147" y="147"/>
                    <a:pt x="146" y="148"/>
                    <a:pt x="145" y="149"/>
                  </a:cubicBezTo>
                  <a:cubicBezTo>
                    <a:pt x="145" y="149"/>
                    <a:pt x="145" y="149"/>
                    <a:pt x="145" y="149"/>
                  </a:cubicBezTo>
                  <a:cubicBezTo>
                    <a:pt x="142" y="152"/>
                    <a:pt x="142" y="152"/>
                    <a:pt x="142" y="152"/>
                  </a:cubicBezTo>
                  <a:cubicBezTo>
                    <a:pt x="141" y="152"/>
                    <a:pt x="141" y="152"/>
                    <a:pt x="141" y="152"/>
                  </a:cubicBezTo>
                  <a:cubicBezTo>
                    <a:pt x="138" y="154"/>
                    <a:pt x="138" y="154"/>
                    <a:pt x="138" y="154"/>
                  </a:cubicBezTo>
                  <a:cubicBezTo>
                    <a:pt x="138" y="154"/>
                    <a:pt x="138" y="154"/>
                    <a:pt x="138" y="154"/>
                  </a:cubicBezTo>
                  <a:cubicBezTo>
                    <a:pt x="137" y="155"/>
                    <a:pt x="136" y="156"/>
                    <a:pt x="135" y="156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33" y="157"/>
                    <a:pt x="132" y="158"/>
                    <a:pt x="131" y="158"/>
                  </a:cubicBezTo>
                  <a:cubicBezTo>
                    <a:pt x="130" y="159"/>
                    <a:pt x="128" y="160"/>
                    <a:pt x="127" y="160"/>
                  </a:cubicBezTo>
                  <a:cubicBezTo>
                    <a:pt x="126" y="161"/>
                    <a:pt x="125" y="161"/>
                    <a:pt x="124" y="162"/>
                  </a:cubicBezTo>
                  <a:cubicBezTo>
                    <a:pt x="123" y="162"/>
                    <a:pt x="123" y="162"/>
                    <a:pt x="123" y="162"/>
                  </a:cubicBezTo>
                  <a:cubicBezTo>
                    <a:pt x="122" y="162"/>
                    <a:pt x="121" y="163"/>
                    <a:pt x="120" y="163"/>
                  </a:cubicBezTo>
                  <a:cubicBezTo>
                    <a:pt x="119" y="163"/>
                    <a:pt x="119" y="163"/>
                    <a:pt x="119" y="163"/>
                  </a:cubicBezTo>
                  <a:moveTo>
                    <a:pt x="89" y="167"/>
                  </a:moveTo>
                  <a:cubicBezTo>
                    <a:pt x="76" y="165"/>
                    <a:pt x="65" y="150"/>
                    <a:pt x="59" y="129"/>
                  </a:cubicBezTo>
                  <a:cubicBezTo>
                    <a:pt x="69" y="127"/>
                    <a:pt x="79" y="126"/>
                    <a:pt x="89" y="125"/>
                  </a:cubicBezTo>
                  <a:cubicBezTo>
                    <a:pt x="89" y="167"/>
                    <a:pt x="89" y="167"/>
                    <a:pt x="89" y="167"/>
                  </a:cubicBezTo>
                  <a:moveTo>
                    <a:pt x="97" y="167"/>
                  </a:moveTo>
                  <a:cubicBezTo>
                    <a:pt x="97" y="125"/>
                    <a:pt x="97" y="125"/>
                    <a:pt x="97" y="125"/>
                  </a:cubicBezTo>
                  <a:cubicBezTo>
                    <a:pt x="107" y="125"/>
                    <a:pt x="118" y="127"/>
                    <a:pt x="128" y="129"/>
                  </a:cubicBezTo>
                  <a:cubicBezTo>
                    <a:pt x="121" y="150"/>
                    <a:pt x="110" y="165"/>
                    <a:pt x="97" y="167"/>
                  </a:cubicBezTo>
                  <a:moveTo>
                    <a:pt x="28" y="133"/>
                  </a:moveTo>
                  <a:cubicBezTo>
                    <a:pt x="19" y="121"/>
                    <a:pt x="14" y="107"/>
                    <a:pt x="1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5" y="103"/>
                    <a:pt x="46" y="113"/>
                    <a:pt x="49" y="124"/>
                  </a:cubicBezTo>
                  <a:cubicBezTo>
                    <a:pt x="41" y="126"/>
                    <a:pt x="34" y="129"/>
                    <a:pt x="28" y="133"/>
                  </a:cubicBezTo>
                  <a:moveTo>
                    <a:pt x="57" y="121"/>
                  </a:moveTo>
                  <a:cubicBezTo>
                    <a:pt x="54" y="112"/>
                    <a:pt x="53" y="102"/>
                    <a:pt x="53" y="92"/>
                  </a:cubicBezTo>
                  <a:cubicBezTo>
                    <a:pt x="89" y="92"/>
                    <a:pt x="89" y="92"/>
                    <a:pt x="89" y="92"/>
                  </a:cubicBezTo>
                  <a:cubicBezTo>
                    <a:pt x="89" y="117"/>
                    <a:pt x="89" y="117"/>
                    <a:pt x="89" y="117"/>
                  </a:cubicBezTo>
                  <a:cubicBezTo>
                    <a:pt x="78" y="117"/>
                    <a:pt x="67" y="119"/>
                    <a:pt x="57" y="121"/>
                  </a:cubicBezTo>
                  <a:moveTo>
                    <a:pt x="130" y="121"/>
                  </a:moveTo>
                  <a:cubicBezTo>
                    <a:pt x="119" y="119"/>
                    <a:pt x="108" y="117"/>
                    <a:pt x="97" y="117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134" y="92"/>
                    <a:pt x="134" y="92"/>
                    <a:pt x="134" y="92"/>
                  </a:cubicBezTo>
                  <a:cubicBezTo>
                    <a:pt x="134" y="102"/>
                    <a:pt x="132" y="112"/>
                    <a:pt x="130" y="121"/>
                  </a:cubicBezTo>
                  <a:cubicBezTo>
                    <a:pt x="130" y="121"/>
                    <a:pt x="130" y="121"/>
                    <a:pt x="130" y="121"/>
                  </a:cubicBezTo>
                  <a:moveTo>
                    <a:pt x="138" y="124"/>
                  </a:moveTo>
                  <a:cubicBezTo>
                    <a:pt x="140" y="113"/>
                    <a:pt x="142" y="103"/>
                    <a:pt x="142" y="92"/>
                  </a:cubicBezTo>
                  <a:cubicBezTo>
                    <a:pt x="173" y="92"/>
                    <a:pt x="173" y="92"/>
                    <a:pt x="173" y="92"/>
                  </a:cubicBezTo>
                  <a:cubicBezTo>
                    <a:pt x="172" y="107"/>
                    <a:pt x="167" y="121"/>
                    <a:pt x="159" y="133"/>
                  </a:cubicBezTo>
                  <a:cubicBezTo>
                    <a:pt x="152" y="129"/>
                    <a:pt x="145" y="126"/>
                    <a:pt x="138" y="124"/>
                  </a:cubicBezTo>
                  <a:cubicBezTo>
                    <a:pt x="138" y="124"/>
                    <a:pt x="138" y="124"/>
                    <a:pt x="138" y="124"/>
                  </a:cubicBezTo>
                  <a:moveTo>
                    <a:pt x="53" y="84"/>
                  </a:moveTo>
                  <a:cubicBezTo>
                    <a:pt x="53" y="74"/>
                    <a:pt x="54" y="64"/>
                    <a:pt x="57" y="55"/>
                  </a:cubicBezTo>
                  <a:cubicBezTo>
                    <a:pt x="67" y="57"/>
                    <a:pt x="78" y="59"/>
                    <a:pt x="89" y="59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53" y="84"/>
                    <a:pt x="53" y="84"/>
                    <a:pt x="53" y="84"/>
                  </a:cubicBezTo>
                  <a:moveTo>
                    <a:pt x="97" y="84"/>
                  </a:moveTo>
                  <a:cubicBezTo>
                    <a:pt x="97" y="59"/>
                    <a:pt x="97" y="59"/>
                    <a:pt x="97" y="59"/>
                  </a:cubicBezTo>
                  <a:cubicBezTo>
                    <a:pt x="108" y="59"/>
                    <a:pt x="119" y="57"/>
                    <a:pt x="130" y="55"/>
                  </a:cubicBezTo>
                  <a:cubicBezTo>
                    <a:pt x="132" y="64"/>
                    <a:pt x="133" y="74"/>
                    <a:pt x="134" y="84"/>
                  </a:cubicBezTo>
                  <a:cubicBezTo>
                    <a:pt x="97" y="84"/>
                    <a:pt x="97" y="84"/>
                    <a:pt x="97" y="84"/>
                  </a:cubicBezTo>
                  <a:moveTo>
                    <a:pt x="14" y="84"/>
                  </a:moveTo>
                  <a:cubicBezTo>
                    <a:pt x="14" y="69"/>
                    <a:pt x="19" y="55"/>
                    <a:pt x="28" y="43"/>
                  </a:cubicBezTo>
                  <a:cubicBezTo>
                    <a:pt x="34" y="47"/>
                    <a:pt x="41" y="50"/>
                    <a:pt x="49" y="52"/>
                  </a:cubicBezTo>
                  <a:cubicBezTo>
                    <a:pt x="46" y="63"/>
                    <a:pt x="45" y="73"/>
                    <a:pt x="44" y="84"/>
                  </a:cubicBezTo>
                  <a:cubicBezTo>
                    <a:pt x="14" y="84"/>
                    <a:pt x="14" y="84"/>
                    <a:pt x="14" y="84"/>
                  </a:cubicBezTo>
                  <a:moveTo>
                    <a:pt x="142" y="84"/>
                  </a:moveTo>
                  <a:cubicBezTo>
                    <a:pt x="142" y="73"/>
                    <a:pt x="140" y="63"/>
                    <a:pt x="138" y="52"/>
                  </a:cubicBezTo>
                  <a:cubicBezTo>
                    <a:pt x="145" y="50"/>
                    <a:pt x="152" y="47"/>
                    <a:pt x="159" y="43"/>
                  </a:cubicBezTo>
                  <a:cubicBezTo>
                    <a:pt x="167" y="55"/>
                    <a:pt x="172" y="69"/>
                    <a:pt x="173" y="84"/>
                  </a:cubicBezTo>
                  <a:cubicBezTo>
                    <a:pt x="142" y="84"/>
                    <a:pt x="142" y="84"/>
                    <a:pt x="142" y="84"/>
                  </a:cubicBezTo>
                  <a:moveTo>
                    <a:pt x="50" y="45"/>
                  </a:moveTo>
                  <a:cubicBezTo>
                    <a:pt x="44" y="43"/>
                    <a:pt x="38" y="40"/>
                    <a:pt x="32" y="37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4" y="35"/>
                    <a:pt x="35" y="34"/>
                    <a:pt x="35" y="33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40" y="29"/>
                    <a:pt x="41" y="28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3" y="26"/>
                    <a:pt x="44" y="25"/>
                    <a:pt x="45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7" y="23"/>
                    <a:pt x="48" y="23"/>
                    <a:pt x="49" y="22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0" y="21"/>
                    <a:pt x="51" y="20"/>
                    <a:pt x="52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7" y="17"/>
                    <a:pt x="58" y="16"/>
                    <a:pt x="60" y="16"/>
                  </a:cubicBezTo>
                  <a:cubicBezTo>
                    <a:pt x="61" y="15"/>
                    <a:pt x="62" y="15"/>
                    <a:pt x="63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0" y="22"/>
                    <a:pt x="54" y="33"/>
                    <a:pt x="50" y="45"/>
                  </a:cubicBezTo>
                  <a:moveTo>
                    <a:pt x="136" y="44"/>
                  </a:moveTo>
                  <a:cubicBezTo>
                    <a:pt x="132" y="32"/>
                    <a:pt x="126" y="21"/>
                    <a:pt x="118" y="12"/>
                  </a:cubicBezTo>
                  <a:cubicBezTo>
                    <a:pt x="119" y="12"/>
                    <a:pt x="119" y="12"/>
                    <a:pt x="119" y="12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27" y="15"/>
                    <a:pt x="127" y="15"/>
                    <a:pt x="127" y="15"/>
                  </a:cubicBezTo>
                  <a:cubicBezTo>
                    <a:pt x="128" y="16"/>
                    <a:pt x="129" y="16"/>
                    <a:pt x="130" y="17"/>
                  </a:cubicBezTo>
                  <a:cubicBezTo>
                    <a:pt x="132" y="18"/>
                    <a:pt x="133" y="18"/>
                    <a:pt x="134" y="19"/>
                  </a:cubicBezTo>
                  <a:cubicBezTo>
                    <a:pt x="134" y="19"/>
                    <a:pt x="134" y="19"/>
                    <a:pt x="134" y="19"/>
                  </a:cubicBezTo>
                  <a:cubicBezTo>
                    <a:pt x="135" y="20"/>
                    <a:pt x="136" y="20"/>
                    <a:pt x="137" y="21"/>
                  </a:cubicBezTo>
                  <a:cubicBezTo>
                    <a:pt x="138" y="21"/>
                    <a:pt x="138" y="21"/>
                    <a:pt x="138" y="21"/>
                  </a:cubicBezTo>
                  <a:cubicBezTo>
                    <a:pt x="139" y="22"/>
                    <a:pt x="140" y="23"/>
                    <a:pt x="141" y="24"/>
                  </a:cubicBezTo>
                  <a:cubicBezTo>
                    <a:pt x="141" y="24"/>
                    <a:pt x="141" y="24"/>
                    <a:pt x="141" y="24"/>
                  </a:cubicBezTo>
                  <a:cubicBezTo>
                    <a:pt x="144" y="26"/>
                    <a:pt x="144" y="26"/>
                    <a:pt x="144" y="26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46" y="27"/>
                    <a:pt x="147" y="28"/>
                    <a:pt x="147" y="29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9" y="30"/>
                    <a:pt x="150" y="31"/>
                    <a:pt x="151" y="32"/>
                  </a:cubicBezTo>
                  <a:cubicBezTo>
                    <a:pt x="151" y="33"/>
                    <a:pt x="151" y="33"/>
                    <a:pt x="151" y="33"/>
                  </a:cubicBezTo>
                  <a:cubicBezTo>
                    <a:pt x="152" y="34"/>
                    <a:pt x="153" y="35"/>
                    <a:pt x="154" y="36"/>
                  </a:cubicBezTo>
                  <a:cubicBezTo>
                    <a:pt x="148" y="39"/>
                    <a:pt x="142" y="42"/>
                    <a:pt x="136" y="44"/>
                  </a:cubicBezTo>
                  <a:moveTo>
                    <a:pt x="89" y="51"/>
                  </a:moveTo>
                  <a:cubicBezTo>
                    <a:pt x="79" y="51"/>
                    <a:pt x="69" y="49"/>
                    <a:pt x="59" y="47"/>
                  </a:cubicBezTo>
                  <a:cubicBezTo>
                    <a:pt x="65" y="26"/>
                    <a:pt x="77" y="11"/>
                    <a:pt x="89" y="9"/>
                  </a:cubicBezTo>
                  <a:cubicBezTo>
                    <a:pt x="89" y="51"/>
                    <a:pt x="89" y="51"/>
                    <a:pt x="89" y="51"/>
                  </a:cubicBezTo>
                  <a:moveTo>
                    <a:pt x="97" y="51"/>
                  </a:moveTo>
                  <a:cubicBezTo>
                    <a:pt x="97" y="9"/>
                    <a:pt x="97" y="9"/>
                    <a:pt x="97" y="9"/>
                  </a:cubicBezTo>
                  <a:cubicBezTo>
                    <a:pt x="110" y="11"/>
                    <a:pt x="121" y="26"/>
                    <a:pt x="128" y="47"/>
                  </a:cubicBezTo>
                  <a:cubicBezTo>
                    <a:pt x="118" y="49"/>
                    <a:pt x="107" y="51"/>
                    <a:pt x="97" y="51"/>
                  </a:cubicBezTo>
                  <a:moveTo>
                    <a:pt x="93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7" y="0"/>
                    <a:pt x="81" y="1"/>
                    <a:pt x="75" y="2"/>
                  </a:cubicBezTo>
                  <a:cubicBezTo>
                    <a:pt x="72" y="3"/>
                    <a:pt x="69" y="3"/>
                    <a:pt x="66" y="4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47" y="11"/>
                    <a:pt x="34" y="21"/>
                    <a:pt x="23" y="35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0" y="68"/>
                    <a:pt x="0" y="108"/>
                    <a:pt x="21" y="138"/>
                  </a:cubicBezTo>
                  <a:cubicBezTo>
                    <a:pt x="23" y="141"/>
                    <a:pt x="23" y="141"/>
                    <a:pt x="23" y="141"/>
                  </a:cubicBezTo>
                  <a:cubicBezTo>
                    <a:pt x="40" y="163"/>
                    <a:pt x="66" y="176"/>
                    <a:pt x="93" y="176"/>
                  </a:cubicBezTo>
                  <a:cubicBezTo>
                    <a:pt x="93" y="176"/>
                    <a:pt x="93" y="176"/>
                    <a:pt x="93" y="176"/>
                  </a:cubicBezTo>
                  <a:cubicBezTo>
                    <a:pt x="93" y="176"/>
                    <a:pt x="93" y="176"/>
                    <a:pt x="93" y="176"/>
                  </a:cubicBezTo>
                  <a:cubicBezTo>
                    <a:pt x="98" y="176"/>
                    <a:pt x="103" y="175"/>
                    <a:pt x="108" y="175"/>
                  </a:cubicBezTo>
                  <a:cubicBezTo>
                    <a:pt x="110" y="174"/>
                    <a:pt x="112" y="174"/>
                    <a:pt x="113" y="174"/>
                  </a:cubicBezTo>
                  <a:cubicBezTo>
                    <a:pt x="116" y="173"/>
                    <a:pt x="118" y="172"/>
                    <a:pt x="121" y="172"/>
                  </a:cubicBezTo>
                  <a:cubicBezTo>
                    <a:pt x="122" y="171"/>
                    <a:pt x="123" y="171"/>
                    <a:pt x="125" y="170"/>
                  </a:cubicBezTo>
                  <a:cubicBezTo>
                    <a:pt x="126" y="169"/>
                    <a:pt x="126" y="169"/>
                    <a:pt x="126" y="169"/>
                  </a:cubicBezTo>
                  <a:cubicBezTo>
                    <a:pt x="130" y="168"/>
                    <a:pt x="133" y="167"/>
                    <a:pt x="136" y="165"/>
                  </a:cubicBezTo>
                  <a:cubicBezTo>
                    <a:pt x="137" y="164"/>
                    <a:pt x="137" y="164"/>
                    <a:pt x="137" y="164"/>
                  </a:cubicBezTo>
                  <a:cubicBezTo>
                    <a:pt x="143" y="161"/>
                    <a:pt x="149" y="156"/>
                    <a:pt x="155" y="151"/>
                  </a:cubicBezTo>
                  <a:cubicBezTo>
                    <a:pt x="155" y="150"/>
                    <a:pt x="156" y="149"/>
                    <a:pt x="157" y="148"/>
                  </a:cubicBezTo>
                  <a:cubicBezTo>
                    <a:pt x="159" y="146"/>
                    <a:pt x="161" y="144"/>
                    <a:pt x="163" y="141"/>
                  </a:cubicBezTo>
                  <a:cubicBezTo>
                    <a:pt x="166" y="138"/>
                    <a:pt x="166" y="138"/>
                    <a:pt x="166" y="138"/>
                  </a:cubicBezTo>
                  <a:cubicBezTo>
                    <a:pt x="176" y="123"/>
                    <a:pt x="181" y="106"/>
                    <a:pt x="181" y="88"/>
                  </a:cubicBezTo>
                  <a:cubicBezTo>
                    <a:pt x="181" y="70"/>
                    <a:pt x="176" y="53"/>
                    <a:pt x="166" y="38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47" y="13"/>
                    <a:pt x="121" y="0"/>
                    <a:pt x="93" y="0"/>
                  </a:cubicBezTo>
                </a:path>
              </a:pathLst>
            </a:custGeom>
            <a:solidFill>
              <a:srgbClr val="888B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1" name="任意多边形 45">
              <a:extLst>
                <a:ext uri="{FF2B5EF4-FFF2-40B4-BE49-F238E27FC236}">
                  <a16:creationId xmlns:a16="http://schemas.microsoft.com/office/drawing/2014/main" id="{5B95BC6D-59D7-4B76-833B-13A02CE62D27}"/>
                </a:ext>
              </a:extLst>
            </p:cNvPr>
            <p:cNvSpPr/>
            <p:nvPr/>
          </p:nvSpPr>
          <p:spPr bwMode="auto">
            <a:xfrm>
              <a:off x="4446588" y="3667125"/>
              <a:ext cx="676275" cy="801688"/>
            </a:xfrm>
            <a:custGeom>
              <a:avLst/>
              <a:gdLst>
                <a:gd name="T0" fmla="*/ 152 w 179"/>
                <a:gd name="T1" fmla="*/ 0 h 212"/>
                <a:gd name="T2" fmla="*/ 154 w 179"/>
                <a:gd name="T3" fmla="*/ 108 h 212"/>
                <a:gd name="T4" fmla="*/ 90 w 179"/>
                <a:gd name="T5" fmla="*/ 204 h 212"/>
                <a:gd name="T6" fmla="*/ 152 w 179"/>
                <a:gd name="T7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9" h="212">
                  <a:moveTo>
                    <a:pt x="152" y="0"/>
                  </a:moveTo>
                  <a:cubicBezTo>
                    <a:pt x="166" y="35"/>
                    <a:pt x="167" y="73"/>
                    <a:pt x="154" y="108"/>
                  </a:cubicBezTo>
                  <a:cubicBezTo>
                    <a:pt x="133" y="167"/>
                    <a:pt x="179" y="196"/>
                    <a:pt x="90" y="204"/>
                  </a:cubicBezTo>
                  <a:cubicBezTo>
                    <a:pt x="0" y="212"/>
                    <a:pt x="152" y="0"/>
                    <a:pt x="152" y="0"/>
                  </a:cubicBezTo>
                </a:path>
              </a:pathLst>
            </a:custGeom>
            <a:solidFill>
              <a:srgbClr val="68E1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2" name="任意多边形 46">
              <a:extLst>
                <a:ext uri="{FF2B5EF4-FFF2-40B4-BE49-F238E27FC236}">
                  <a16:creationId xmlns:a16="http://schemas.microsoft.com/office/drawing/2014/main" id="{FED3DC59-1F51-4118-9990-CE24DF2799E7}"/>
                </a:ext>
              </a:extLst>
            </p:cNvPr>
            <p:cNvSpPr/>
            <p:nvPr/>
          </p:nvSpPr>
          <p:spPr bwMode="auto">
            <a:xfrm>
              <a:off x="4840288" y="3670300"/>
              <a:ext cx="222250" cy="760413"/>
            </a:xfrm>
            <a:custGeom>
              <a:avLst/>
              <a:gdLst>
                <a:gd name="T0" fmla="*/ 48 w 59"/>
                <a:gd name="T1" fmla="*/ 0 h 201"/>
                <a:gd name="T2" fmla="*/ 15 w 59"/>
                <a:gd name="T3" fmla="*/ 104 h 201"/>
                <a:gd name="T4" fmla="*/ 1 w 59"/>
                <a:gd name="T5" fmla="*/ 201 h 201"/>
                <a:gd name="T6" fmla="*/ 44 w 59"/>
                <a:gd name="T7" fmla="*/ 165 h 201"/>
                <a:gd name="T8" fmla="*/ 44 w 59"/>
                <a:gd name="T9" fmla="*/ 146 h 201"/>
                <a:gd name="T10" fmla="*/ 50 w 59"/>
                <a:gd name="T11" fmla="*/ 107 h 201"/>
                <a:gd name="T12" fmla="*/ 59 w 59"/>
                <a:gd name="T13" fmla="*/ 56 h 201"/>
                <a:gd name="T14" fmla="*/ 48 w 59"/>
                <a:gd name="T15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201">
                  <a:moveTo>
                    <a:pt x="48" y="0"/>
                  </a:moveTo>
                  <a:cubicBezTo>
                    <a:pt x="58" y="38"/>
                    <a:pt x="28" y="80"/>
                    <a:pt x="15" y="104"/>
                  </a:cubicBezTo>
                  <a:cubicBezTo>
                    <a:pt x="0" y="133"/>
                    <a:pt x="0" y="182"/>
                    <a:pt x="1" y="201"/>
                  </a:cubicBezTo>
                  <a:cubicBezTo>
                    <a:pt x="40" y="196"/>
                    <a:pt x="44" y="184"/>
                    <a:pt x="44" y="165"/>
                  </a:cubicBezTo>
                  <a:cubicBezTo>
                    <a:pt x="44" y="159"/>
                    <a:pt x="44" y="153"/>
                    <a:pt x="44" y="146"/>
                  </a:cubicBezTo>
                  <a:cubicBezTo>
                    <a:pt x="44" y="135"/>
                    <a:pt x="45" y="122"/>
                    <a:pt x="50" y="107"/>
                  </a:cubicBezTo>
                  <a:cubicBezTo>
                    <a:pt x="56" y="90"/>
                    <a:pt x="59" y="73"/>
                    <a:pt x="59" y="56"/>
                  </a:cubicBezTo>
                  <a:cubicBezTo>
                    <a:pt x="59" y="37"/>
                    <a:pt x="55" y="18"/>
                    <a:pt x="48" y="0"/>
                  </a:cubicBezTo>
                </a:path>
              </a:pathLst>
            </a:custGeom>
            <a:solidFill>
              <a:srgbClr val="ADE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3" name="任意多边形 47">
              <a:extLst>
                <a:ext uri="{FF2B5EF4-FFF2-40B4-BE49-F238E27FC236}">
                  <a16:creationId xmlns:a16="http://schemas.microsoft.com/office/drawing/2014/main" id="{4B123281-134F-40D7-8353-4031FCF6FD01}"/>
                </a:ext>
              </a:extLst>
            </p:cNvPr>
            <p:cNvSpPr/>
            <p:nvPr/>
          </p:nvSpPr>
          <p:spPr bwMode="auto">
            <a:xfrm>
              <a:off x="4687888" y="3160713"/>
              <a:ext cx="139700" cy="161925"/>
            </a:xfrm>
            <a:custGeom>
              <a:avLst/>
              <a:gdLst>
                <a:gd name="T0" fmla="*/ 28 w 37"/>
                <a:gd name="T1" fmla="*/ 9 h 43"/>
                <a:gd name="T2" fmla="*/ 36 w 37"/>
                <a:gd name="T3" fmla="*/ 33 h 43"/>
                <a:gd name="T4" fmla="*/ 30 w 37"/>
                <a:gd name="T5" fmla="*/ 41 h 43"/>
                <a:gd name="T6" fmla="*/ 30 w 37"/>
                <a:gd name="T7" fmla="*/ 41 h 43"/>
                <a:gd name="T8" fmla="*/ 13 w 37"/>
                <a:gd name="T9" fmla="*/ 35 h 43"/>
                <a:gd name="T10" fmla="*/ 4 w 37"/>
                <a:gd name="T11" fmla="*/ 25 h 43"/>
                <a:gd name="T12" fmla="*/ 3 w 37"/>
                <a:gd name="T13" fmla="*/ 9 h 43"/>
                <a:gd name="T14" fmla="*/ 28 w 37"/>
                <a:gd name="T15" fmla="*/ 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43">
                  <a:moveTo>
                    <a:pt x="28" y="9"/>
                  </a:moveTo>
                  <a:cubicBezTo>
                    <a:pt x="31" y="17"/>
                    <a:pt x="34" y="25"/>
                    <a:pt x="36" y="33"/>
                  </a:cubicBezTo>
                  <a:cubicBezTo>
                    <a:pt x="37" y="37"/>
                    <a:pt x="34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4" y="43"/>
                    <a:pt x="17" y="40"/>
                    <a:pt x="13" y="3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0"/>
                    <a:pt x="0" y="14"/>
                    <a:pt x="3" y="9"/>
                  </a:cubicBezTo>
                  <a:cubicBezTo>
                    <a:pt x="9" y="0"/>
                    <a:pt x="24" y="1"/>
                    <a:pt x="28" y="9"/>
                  </a:cubicBezTo>
                </a:path>
              </a:pathLst>
            </a:custGeom>
            <a:solidFill>
              <a:srgbClr val="F4A2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4" name="任意多边形 48">
              <a:extLst>
                <a:ext uri="{FF2B5EF4-FFF2-40B4-BE49-F238E27FC236}">
                  <a16:creationId xmlns:a16="http://schemas.microsoft.com/office/drawing/2014/main" id="{AD9FB870-ACC1-4F6B-B5B6-F50EE8EEC407}"/>
                </a:ext>
              </a:extLst>
            </p:cNvPr>
            <p:cNvSpPr/>
            <p:nvPr/>
          </p:nvSpPr>
          <p:spPr bwMode="auto">
            <a:xfrm>
              <a:off x="4684713" y="3262313"/>
              <a:ext cx="101600" cy="196850"/>
            </a:xfrm>
            <a:custGeom>
              <a:avLst/>
              <a:gdLst>
                <a:gd name="T0" fmla="*/ 29 w 64"/>
                <a:gd name="T1" fmla="*/ 0 h 124"/>
                <a:gd name="T2" fmla="*/ 0 w 64"/>
                <a:gd name="T3" fmla="*/ 112 h 124"/>
                <a:gd name="T4" fmla="*/ 64 w 64"/>
                <a:gd name="T5" fmla="*/ 124 h 124"/>
                <a:gd name="T6" fmla="*/ 57 w 64"/>
                <a:gd name="T7" fmla="*/ 38 h 124"/>
                <a:gd name="T8" fmla="*/ 29 w 64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24">
                  <a:moveTo>
                    <a:pt x="29" y="0"/>
                  </a:moveTo>
                  <a:lnTo>
                    <a:pt x="0" y="112"/>
                  </a:lnTo>
                  <a:lnTo>
                    <a:pt x="64" y="124"/>
                  </a:lnTo>
                  <a:lnTo>
                    <a:pt x="57" y="38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4A2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5" name="任意多边形 49">
              <a:extLst>
                <a:ext uri="{FF2B5EF4-FFF2-40B4-BE49-F238E27FC236}">
                  <a16:creationId xmlns:a16="http://schemas.microsoft.com/office/drawing/2014/main" id="{4BD8C34F-E8DE-4D60-8E26-CA478CB68EC6}"/>
                </a:ext>
              </a:extLst>
            </p:cNvPr>
            <p:cNvSpPr/>
            <p:nvPr/>
          </p:nvSpPr>
          <p:spPr bwMode="auto">
            <a:xfrm>
              <a:off x="4684713" y="3262313"/>
              <a:ext cx="101600" cy="196850"/>
            </a:xfrm>
            <a:custGeom>
              <a:avLst/>
              <a:gdLst>
                <a:gd name="T0" fmla="*/ 29 w 64"/>
                <a:gd name="T1" fmla="*/ 0 h 124"/>
                <a:gd name="T2" fmla="*/ 0 w 64"/>
                <a:gd name="T3" fmla="*/ 112 h 124"/>
                <a:gd name="T4" fmla="*/ 64 w 64"/>
                <a:gd name="T5" fmla="*/ 124 h 124"/>
                <a:gd name="T6" fmla="*/ 57 w 64"/>
                <a:gd name="T7" fmla="*/ 38 h 124"/>
                <a:gd name="T8" fmla="*/ 29 w 64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24">
                  <a:moveTo>
                    <a:pt x="29" y="0"/>
                  </a:moveTo>
                  <a:lnTo>
                    <a:pt x="0" y="112"/>
                  </a:lnTo>
                  <a:lnTo>
                    <a:pt x="64" y="124"/>
                  </a:lnTo>
                  <a:lnTo>
                    <a:pt x="57" y="38"/>
                  </a:lnTo>
                  <a:lnTo>
                    <a:pt x="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6" name="任意多边形 50">
              <a:extLst>
                <a:ext uri="{FF2B5EF4-FFF2-40B4-BE49-F238E27FC236}">
                  <a16:creationId xmlns:a16="http://schemas.microsoft.com/office/drawing/2014/main" id="{DB02A52D-7328-473E-805B-2685DF34724A}"/>
                </a:ext>
              </a:extLst>
            </p:cNvPr>
            <p:cNvSpPr/>
            <p:nvPr/>
          </p:nvSpPr>
          <p:spPr bwMode="auto">
            <a:xfrm>
              <a:off x="4810125" y="3228975"/>
              <a:ext cx="25400" cy="41275"/>
            </a:xfrm>
            <a:custGeom>
              <a:avLst/>
              <a:gdLst>
                <a:gd name="T0" fmla="*/ 0 w 7"/>
                <a:gd name="T1" fmla="*/ 0 h 11"/>
                <a:gd name="T2" fmla="*/ 6 w 7"/>
                <a:gd name="T3" fmla="*/ 4 h 11"/>
                <a:gd name="T4" fmla="*/ 6 w 7"/>
                <a:gd name="T5" fmla="*/ 7 h 11"/>
                <a:gd name="T6" fmla="*/ 6 w 7"/>
                <a:gd name="T7" fmla="*/ 8 h 11"/>
                <a:gd name="T8" fmla="*/ 1 w 7"/>
                <a:gd name="T9" fmla="*/ 11 h 11"/>
                <a:gd name="T10" fmla="*/ 0 w 7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0" y="0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6"/>
                    <a:pt x="6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1" y="11"/>
                    <a:pt x="1" y="11"/>
                    <a:pt x="1" y="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4A2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7" name="任意多边形 51">
              <a:extLst>
                <a:ext uri="{FF2B5EF4-FFF2-40B4-BE49-F238E27FC236}">
                  <a16:creationId xmlns:a16="http://schemas.microsoft.com/office/drawing/2014/main" id="{D7488CEA-3DC1-4688-A965-2A9B07FAFA1F}"/>
                </a:ext>
              </a:extLst>
            </p:cNvPr>
            <p:cNvSpPr/>
            <p:nvPr/>
          </p:nvSpPr>
          <p:spPr bwMode="auto">
            <a:xfrm>
              <a:off x="4772025" y="3316288"/>
              <a:ext cx="11113" cy="79375"/>
            </a:xfrm>
            <a:custGeom>
              <a:avLst/>
              <a:gdLst>
                <a:gd name="T0" fmla="*/ 0 w 3"/>
                <a:gd name="T1" fmla="*/ 0 h 21"/>
                <a:gd name="T2" fmla="*/ 1 w 3"/>
                <a:gd name="T3" fmla="*/ 2 h 21"/>
                <a:gd name="T4" fmla="*/ 3 w 3"/>
                <a:gd name="T5" fmla="*/ 21 h 21"/>
                <a:gd name="T6" fmla="*/ 3 w 3"/>
                <a:gd name="T7" fmla="*/ 21 h 21"/>
                <a:gd name="T8" fmla="*/ 2 w 3"/>
                <a:gd name="T9" fmla="*/ 1 h 21"/>
                <a:gd name="T10" fmla="*/ 0 w 3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1">
                  <a:moveTo>
                    <a:pt x="0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5944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8" name="任意多边形 52">
              <a:extLst>
                <a:ext uri="{FF2B5EF4-FFF2-40B4-BE49-F238E27FC236}">
                  <a16:creationId xmlns:a16="http://schemas.microsoft.com/office/drawing/2014/main" id="{924C78DA-2564-47EF-9E70-3B8B01424359}"/>
                </a:ext>
              </a:extLst>
            </p:cNvPr>
            <p:cNvSpPr/>
            <p:nvPr/>
          </p:nvSpPr>
          <p:spPr bwMode="auto">
            <a:xfrm>
              <a:off x="4772025" y="3316288"/>
              <a:ext cx="7938" cy="3175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0 h 1"/>
                <a:gd name="T4" fmla="*/ 2 w 2"/>
                <a:gd name="T5" fmla="*/ 1 h 1"/>
                <a:gd name="T6" fmla="*/ 2 w 2"/>
                <a:gd name="T7" fmla="*/ 1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E898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9" name="任意多边形 53">
              <a:extLst>
                <a:ext uri="{FF2B5EF4-FFF2-40B4-BE49-F238E27FC236}">
                  <a16:creationId xmlns:a16="http://schemas.microsoft.com/office/drawing/2014/main" id="{F88BEB7B-912D-414A-9D0F-AFD262433F66}"/>
                </a:ext>
              </a:extLst>
            </p:cNvPr>
            <p:cNvSpPr/>
            <p:nvPr/>
          </p:nvSpPr>
          <p:spPr bwMode="auto">
            <a:xfrm>
              <a:off x="4730750" y="3297238"/>
              <a:ext cx="52388" cy="98425"/>
            </a:xfrm>
            <a:custGeom>
              <a:avLst/>
              <a:gdLst>
                <a:gd name="T0" fmla="*/ 0 w 14"/>
                <a:gd name="T1" fmla="*/ 0 h 26"/>
                <a:gd name="T2" fmla="*/ 14 w 14"/>
                <a:gd name="T3" fmla="*/ 26 h 26"/>
                <a:gd name="T4" fmla="*/ 12 w 14"/>
                <a:gd name="T5" fmla="*/ 7 h 26"/>
                <a:gd name="T6" fmla="*/ 11 w 14"/>
                <a:gd name="T7" fmla="*/ 5 h 26"/>
                <a:gd name="T8" fmla="*/ 11 w 14"/>
                <a:gd name="T9" fmla="*/ 5 h 26"/>
                <a:gd name="T10" fmla="*/ 0 w 1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6">
                  <a:moveTo>
                    <a:pt x="0" y="0"/>
                  </a:moveTo>
                  <a:cubicBezTo>
                    <a:pt x="0" y="0"/>
                    <a:pt x="1" y="23"/>
                    <a:pt x="14" y="2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7" y="4"/>
                    <a:pt x="3" y="2"/>
                    <a:pt x="0" y="0"/>
                  </a:cubicBezTo>
                </a:path>
              </a:pathLst>
            </a:custGeom>
            <a:solidFill>
              <a:srgbClr val="E898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0" name="任意多边形 54">
              <a:extLst>
                <a:ext uri="{FF2B5EF4-FFF2-40B4-BE49-F238E27FC236}">
                  <a16:creationId xmlns:a16="http://schemas.microsoft.com/office/drawing/2014/main" id="{5D2B2CFC-A6FA-4712-AD41-BE46AC55A689}"/>
                </a:ext>
              </a:extLst>
            </p:cNvPr>
            <p:cNvSpPr/>
            <p:nvPr/>
          </p:nvSpPr>
          <p:spPr bwMode="auto">
            <a:xfrm>
              <a:off x="4711700" y="3240088"/>
              <a:ext cx="38100" cy="46038"/>
            </a:xfrm>
            <a:custGeom>
              <a:avLst/>
              <a:gdLst>
                <a:gd name="T0" fmla="*/ 10 w 10"/>
                <a:gd name="T1" fmla="*/ 5 h 12"/>
                <a:gd name="T2" fmla="*/ 4 w 10"/>
                <a:gd name="T3" fmla="*/ 2 h 12"/>
                <a:gd name="T4" fmla="*/ 9 w 10"/>
                <a:gd name="T5" fmla="*/ 10 h 12"/>
                <a:gd name="T6" fmla="*/ 10 w 10"/>
                <a:gd name="T7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10" y="5"/>
                  </a:moveTo>
                  <a:cubicBezTo>
                    <a:pt x="10" y="5"/>
                    <a:pt x="8" y="0"/>
                    <a:pt x="4" y="2"/>
                  </a:cubicBezTo>
                  <a:cubicBezTo>
                    <a:pt x="0" y="4"/>
                    <a:pt x="3" y="12"/>
                    <a:pt x="9" y="10"/>
                  </a:cubicBezTo>
                  <a:lnTo>
                    <a:pt x="10" y="5"/>
                  </a:lnTo>
                  <a:close/>
                </a:path>
              </a:pathLst>
            </a:custGeom>
            <a:solidFill>
              <a:srgbClr val="F4A2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1" name="任意多边形 55">
              <a:extLst>
                <a:ext uri="{FF2B5EF4-FFF2-40B4-BE49-F238E27FC236}">
                  <a16:creationId xmlns:a16="http://schemas.microsoft.com/office/drawing/2014/main" id="{7AC4979F-4911-4075-AF0D-D5A6BC459E5B}"/>
                </a:ext>
              </a:extLst>
            </p:cNvPr>
            <p:cNvSpPr/>
            <p:nvPr/>
          </p:nvSpPr>
          <p:spPr bwMode="auto">
            <a:xfrm>
              <a:off x="4657725" y="3116263"/>
              <a:ext cx="144463" cy="146050"/>
            </a:xfrm>
            <a:custGeom>
              <a:avLst/>
              <a:gdLst>
                <a:gd name="T0" fmla="*/ 4 w 38"/>
                <a:gd name="T1" fmla="*/ 36 h 39"/>
                <a:gd name="T2" fmla="*/ 11 w 38"/>
                <a:gd name="T3" fmla="*/ 39 h 39"/>
                <a:gd name="T4" fmla="*/ 20 w 38"/>
                <a:gd name="T5" fmla="*/ 32 h 39"/>
                <a:gd name="T6" fmla="*/ 28 w 38"/>
                <a:gd name="T7" fmla="*/ 24 h 39"/>
                <a:gd name="T8" fmla="*/ 33 w 38"/>
                <a:gd name="T9" fmla="*/ 20 h 39"/>
                <a:gd name="T10" fmla="*/ 34 w 38"/>
                <a:gd name="T11" fmla="*/ 5 h 39"/>
                <a:gd name="T12" fmla="*/ 33 w 38"/>
                <a:gd name="T13" fmla="*/ 4 h 39"/>
                <a:gd name="T14" fmla="*/ 23 w 38"/>
                <a:gd name="T15" fmla="*/ 0 h 39"/>
                <a:gd name="T16" fmla="*/ 4 w 38"/>
                <a:gd name="T17" fmla="*/ 15 h 39"/>
                <a:gd name="T18" fmla="*/ 4 w 38"/>
                <a:gd name="T19" fmla="*/ 3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9">
                  <a:moveTo>
                    <a:pt x="4" y="36"/>
                  </a:moveTo>
                  <a:cubicBezTo>
                    <a:pt x="6" y="38"/>
                    <a:pt x="9" y="39"/>
                    <a:pt x="11" y="39"/>
                  </a:cubicBezTo>
                  <a:cubicBezTo>
                    <a:pt x="15" y="38"/>
                    <a:pt x="17" y="35"/>
                    <a:pt x="20" y="32"/>
                  </a:cubicBezTo>
                  <a:cubicBezTo>
                    <a:pt x="23" y="30"/>
                    <a:pt x="26" y="28"/>
                    <a:pt x="28" y="24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7" y="16"/>
                    <a:pt x="38" y="10"/>
                    <a:pt x="34" y="5"/>
                  </a:cubicBezTo>
                  <a:cubicBezTo>
                    <a:pt x="34" y="5"/>
                    <a:pt x="34" y="5"/>
                    <a:pt x="33" y="4"/>
                  </a:cubicBezTo>
                  <a:cubicBezTo>
                    <a:pt x="31" y="2"/>
                    <a:pt x="27" y="0"/>
                    <a:pt x="23" y="0"/>
                  </a:cubicBezTo>
                  <a:cubicBezTo>
                    <a:pt x="15" y="1"/>
                    <a:pt x="7" y="9"/>
                    <a:pt x="4" y="15"/>
                  </a:cubicBezTo>
                  <a:cubicBezTo>
                    <a:pt x="1" y="20"/>
                    <a:pt x="0" y="30"/>
                    <a:pt x="4" y="36"/>
                  </a:cubicBez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2" name="任意多边形 56">
              <a:extLst>
                <a:ext uri="{FF2B5EF4-FFF2-40B4-BE49-F238E27FC236}">
                  <a16:creationId xmlns:a16="http://schemas.microsoft.com/office/drawing/2014/main" id="{F16BA7DF-D1E3-4883-9888-DB47CE35769C}"/>
                </a:ext>
              </a:extLst>
            </p:cNvPr>
            <p:cNvSpPr/>
            <p:nvPr/>
          </p:nvSpPr>
          <p:spPr bwMode="auto">
            <a:xfrm>
              <a:off x="4673600" y="3236913"/>
              <a:ext cx="49213" cy="55563"/>
            </a:xfrm>
            <a:custGeom>
              <a:avLst/>
              <a:gdLst>
                <a:gd name="T0" fmla="*/ 10 w 13"/>
                <a:gd name="T1" fmla="*/ 2 h 15"/>
                <a:gd name="T2" fmla="*/ 1 w 13"/>
                <a:gd name="T3" fmla="*/ 6 h 15"/>
                <a:gd name="T4" fmla="*/ 13 w 13"/>
                <a:gd name="T5" fmla="*/ 10 h 15"/>
                <a:gd name="T6" fmla="*/ 10 w 13"/>
                <a:gd name="T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5">
                  <a:moveTo>
                    <a:pt x="10" y="2"/>
                  </a:moveTo>
                  <a:cubicBezTo>
                    <a:pt x="10" y="2"/>
                    <a:pt x="2" y="0"/>
                    <a:pt x="1" y="6"/>
                  </a:cubicBezTo>
                  <a:cubicBezTo>
                    <a:pt x="0" y="12"/>
                    <a:pt x="8" y="15"/>
                    <a:pt x="13" y="10"/>
                  </a:cubicBezTo>
                  <a:cubicBezTo>
                    <a:pt x="11" y="8"/>
                    <a:pt x="10" y="5"/>
                    <a:pt x="10" y="2"/>
                  </a:cubicBezTo>
                  <a:close/>
                </a:path>
              </a:pathLst>
            </a:custGeom>
            <a:solidFill>
              <a:srgbClr val="F4A2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3" name="矩形 57">
              <a:extLst>
                <a:ext uri="{FF2B5EF4-FFF2-40B4-BE49-F238E27FC236}">
                  <a16:creationId xmlns:a16="http://schemas.microsoft.com/office/drawing/2014/main" id="{2A1B7D29-97CF-47A6-949B-B14AC93F4DE3}"/>
                </a:ext>
              </a:extLst>
            </p:cNvPr>
            <p:cNvSpPr/>
            <p:nvPr/>
          </p:nvSpPr>
          <p:spPr bwMode="auto">
            <a:xfrm>
              <a:off x="4300538" y="4452938"/>
              <a:ext cx="652463" cy="473075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4" name="矩形 58">
              <a:extLst>
                <a:ext uri="{FF2B5EF4-FFF2-40B4-BE49-F238E27FC236}">
                  <a16:creationId xmlns:a16="http://schemas.microsoft.com/office/drawing/2014/main" id="{CDC74B12-B940-4872-9B7D-D357323D92F7}"/>
                </a:ext>
              </a:extLst>
            </p:cNvPr>
            <p:cNvSpPr/>
            <p:nvPr/>
          </p:nvSpPr>
          <p:spPr bwMode="auto">
            <a:xfrm>
              <a:off x="4300538" y="4452938"/>
              <a:ext cx="652463" cy="473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5" name="任意多边形 59">
              <a:extLst>
                <a:ext uri="{FF2B5EF4-FFF2-40B4-BE49-F238E27FC236}">
                  <a16:creationId xmlns:a16="http://schemas.microsoft.com/office/drawing/2014/main" id="{02E7EE30-1AA2-4A86-9489-9D54AA115FEB}"/>
                </a:ext>
              </a:extLst>
            </p:cNvPr>
            <p:cNvSpPr/>
            <p:nvPr/>
          </p:nvSpPr>
          <p:spPr bwMode="auto">
            <a:xfrm>
              <a:off x="4953000" y="4724400"/>
              <a:ext cx="25400" cy="201613"/>
            </a:xfrm>
            <a:custGeom>
              <a:avLst/>
              <a:gdLst>
                <a:gd name="T0" fmla="*/ 0 w 7"/>
                <a:gd name="T1" fmla="*/ 0 h 53"/>
                <a:gd name="T2" fmla="*/ 0 w 7"/>
                <a:gd name="T3" fmla="*/ 53 h 53"/>
                <a:gd name="T4" fmla="*/ 7 w 7"/>
                <a:gd name="T5" fmla="*/ 1 h 53"/>
                <a:gd name="T6" fmla="*/ 0 w 7"/>
                <a:gd name="T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53">
                  <a:moveTo>
                    <a:pt x="0" y="0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1"/>
                    <a:pt x="3" y="1"/>
                    <a:pt x="0" y="0"/>
                  </a:cubicBezTo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6" name="任意多边形 60">
              <a:extLst>
                <a:ext uri="{FF2B5EF4-FFF2-40B4-BE49-F238E27FC236}">
                  <a16:creationId xmlns:a16="http://schemas.microsoft.com/office/drawing/2014/main" id="{69BD707D-1FBE-46B2-BF1E-109DACA8C8DD}"/>
                </a:ext>
              </a:extLst>
            </p:cNvPr>
            <p:cNvSpPr/>
            <p:nvPr/>
          </p:nvSpPr>
          <p:spPr bwMode="auto">
            <a:xfrm>
              <a:off x="4953000" y="4570413"/>
              <a:ext cx="30163" cy="158750"/>
            </a:xfrm>
            <a:custGeom>
              <a:avLst/>
              <a:gdLst>
                <a:gd name="T0" fmla="*/ 0 w 8"/>
                <a:gd name="T1" fmla="*/ 0 h 42"/>
                <a:gd name="T2" fmla="*/ 0 w 8"/>
                <a:gd name="T3" fmla="*/ 41 h 42"/>
                <a:gd name="T4" fmla="*/ 7 w 8"/>
                <a:gd name="T5" fmla="*/ 42 h 42"/>
                <a:gd name="T6" fmla="*/ 8 w 8"/>
                <a:gd name="T7" fmla="*/ 32 h 42"/>
                <a:gd name="T8" fmla="*/ 0 w 8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2">
                  <a:moveTo>
                    <a:pt x="0" y="0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3" y="42"/>
                    <a:pt x="5" y="42"/>
                    <a:pt x="7" y="4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4E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7" name="任意多边形 61">
              <a:extLst>
                <a:ext uri="{FF2B5EF4-FFF2-40B4-BE49-F238E27FC236}">
                  <a16:creationId xmlns:a16="http://schemas.microsoft.com/office/drawing/2014/main" id="{21331B62-A7DF-4F4F-9312-85F9FFDC57F6}"/>
                </a:ext>
              </a:extLst>
            </p:cNvPr>
            <p:cNvSpPr/>
            <p:nvPr/>
          </p:nvSpPr>
          <p:spPr bwMode="auto">
            <a:xfrm>
              <a:off x="4783138" y="4513263"/>
              <a:ext cx="169863" cy="412750"/>
            </a:xfrm>
            <a:custGeom>
              <a:avLst/>
              <a:gdLst>
                <a:gd name="T0" fmla="*/ 12 w 45"/>
                <a:gd name="T1" fmla="*/ 0 h 109"/>
                <a:gd name="T2" fmla="*/ 18 w 45"/>
                <a:gd name="T3" fmla="*/ 17 h 109"/>
                <a:gd name="T4" fmla="*/ 19 w 45"/>
                <a:gd name="T5" fmla="*/ 30 h 109"/>
                <a:gd name="T6" fmla="*/ 12 w 45"/>
                <a:gd name="T7" fmla="*/ 95 h 109"/>
                <a:gd name="T8" fmla="*/ 1 w 45"/>
                <a:gd name="T9" fmla="*/ 95 h 109"/>
                <a:gd name="T10" fmla="*/ 0 w 45"/>
                <a:gd name="T11" fmla="*/ 109 h 109"/>
                <a:gd name="T12" fmla="*/ 45 w 45"/>
                <a:gd name="T13" fmla="*/ 109 h 109"/>
                <a:gd name="T14" fmla="*/ 45 w 45"/>
                <a:gd name="T15" fmla="*/ 56 h 109"/>
                <a:gd name="T16" fmla="*/ 45 w 45"/>
                <a:gd name="T17" fmla="*/ 15 h 109"/>
                <a:gd name="T18" fmla="*/ 43 w 45"/>
                <a:gd name="T19" fmla="*/ 5 h 109"/>
                <a:gd name="T20" fmla="*/ 12 w 45"/>
                <a:gd name="T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109">
                  <a:moveTo>
                    <a:pt x="12" y="0"/>
                  </a:moveTo>
                  <a:cubicBezTo>
                    <a:pt x="15" y="5"/>
                    <a:pt x="17" y="11"/>
                    <a:pt x="18" y="17"/>
                  </a:cubicBezTo>
                  <a:cubicBezTo>
                    <a:pt x="19" y="21"/>
                    <a:pt x="19" y="25"/>
                    <a:pt x="19" y="30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" y="95"/>
                    <a:pt x="1" y="95"/>
                    <a:pt x="1" y="95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8" name="任意多边形 62">
              <a:extLst>
                <a:ext uri="{FF2B5EF4-FFF2-40B4-BE49-F238E27FC236}">
                  <a16:creationId xmlns:a16="http://schemas.microsoft.com/office/drawing/2014/main" id="{B2A565A3-23DB-4311-B5D6-7180AD8C01BF}"/>
                </a:ext>
              </a:extLst>
            </p:cNvPr>
            <p:cNvSpPr/>
            <p:nvPr/>
          </p:nvSpPr>
          <p:spPr bwMode="auto">
            <a:xfrm>
              <a:off x="4745038" y="4868863"/>
              <a:ext cx="147638" cy="98425"/>
            </a:xfrm>
            <a:custGeom>
              <a:avLst/>
              <a:gdLst>
                <a:gd name="T0" fmla="*/ 14 w 39"/>
                <a:gd name="T1" fmla="*/ 0 h 26"/>
                <a:gd name="T2" fmla="*/ 27 w 39"/>
                <a:gd name="T3" fmla="*/ 12 h 26"/>
                <a:gd name="T4" fmla="*/ 30 w 39"/>
                <a:gd name="T5" fmla="*/ 24 h 26"/>
                <a:gd name="T6" fmla="*/ 0 w 39"/>
                <a:gd name="T7" fmla="*/ 15 h 26"/>
                <a:gd name="T8" fmla="*/ 1 w 39"/>
                <a:gd name="T9" fmla="*/ 2 h 26"/>
                <a:gd name="T10" fmla="*/ 14 w 39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26">
                  <a:moveTo>
                    <a:pt x="14" y="0"/>
                  </a:moveTo>
                  <a:cubicBezTo>
                    <a:pt x="14" y="0"/>
                    <a:pt x="18" y="11"/>
                    <a:pt x="27" y="12"/>
                  </a:cubicBezTo>
                  <a:cubicBezTo>
                    <a:pt x="36" y="12"/>
                    <a:pt x="39" y="22"/>
                    <a:pt x="30" y="24"/>
                  </a:cubicBezTo>
                  <a:cubicBezTo>
                    <a:pt x="22" y="26"/>
                    <a:pt x="0" y="15"/>
                    <a:pt x="0" y="15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68E1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9" name="任意多边形 63">
              <a:extLst>
                <a:ext uri="{FF2B5EF4-FFF2-40B4-BE49-F238E27FC236}">
                  <a16:creationId xmlns:a16="http://schemas.microsoft.com/office/drawing/2014/main" id="{A06D262E-80FE-4DD1-B94C-3B2702C45A39}"/>
                </a:ext>
              </a:extLst>
            </p:cNvPr>
            <p:cNvSpPr/>
            <p:nvPr/>
          </p:nvSpPr>
          <p:spPr bwMode="auto">
            <a:xfrm>
              <a:off x="4240213" y="3440113"/>
              <a:ext cx="962025" cy="1023938"/>
            </a:xfrm>
            <a:custGeom>
              <a:avLst/>
              <a:gdLst>
                <a:gd name="T0" fmla="*/ 147 w 255"/>
                <a:gd name="T1" fmla="*/ 4 h 271"/>
                <a:gd name="T2" fmla="*/ 120 w 255"/>
                <a:gd name="T3" fmla="*/ 0 h 271"/>
                <a:gd name="T4" fmla="*/ 16 w 255"/>
                <a:gd name="T5" fmla="*/ 31 h 271"/>
                <a:gd name="T6" fmla="*/ 55 w 255"/>
                <a:gd name="T7" fmla="*/ 268 h 271"/>
                <a:gd name="T8" fmla="*/ 160 w 255"/>
                <a:gd name="T9" fmla="*/ 271 h 271"/>
                <a:gd name="T10" fmla="*/ 174 w 255"/>
                <a:gd name="T11" fmla="*/ 165 h 271"/>
                <a:gd name="T12" fmla="*/ 147 w 255"/>
                <a:gd name="T13" fmla="*/ 4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" h="271">
                  <a:moveTo>
                    <a:pt x="147" y="4"/>
                  </a:moveTo>
                  <a:cubicBezTo>
                    <a:pt x="120" y="0"/>
                    <a:pt x="120" y="0"/>
                    <a:pt x="120" y="0"/>
                  </a:cubicBezTo>
                  <a:cubicBezTo>
                    <a:pt x="120" y="0"/>
                    <a:pt x="31" y="0"/>
                    <a:pt x="16" y="31"/>
                  </a:cubicBezTo>
                  <a:cubicBezTo>
                    <a:pt x="0" y="61"/>
                    <a:pt x="3" y="174"/>
                    <a:pt x="55" y="268"/>
                  </a:cubicBezTo>
                  <a:cubicBezTo>
                    <a:pt x="160" y="271"/>
                    <a:pt x="160" y="271"/>
                    <a:pt x="160" y="271"/>
                  </a:cubicBezTo>
                  <a:cubicBezTo>
                    <a:pt x="160" y="271"/>
                    <a:pt x="154" y="202"/>
                    <a:pt x="174" y="165"/>
                  </a:cubicBezTo>
                  <a:cubicBezTo>
                    <a:pt x="194" y="128"/>
                    <a:pt x="255" y="49"/>
                    <a:pt x="147" y="4"/>
                  </a:cubicBezTo>
                </a:path>
              </a:pathLst>
            </a:custGeom>
            <a:solidFill>
              <a:srgbClr val="68E1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0" name="任意多边形 64">
              <a:extLst>
                <a:ext uri="{FF2B5EF4-FFF2-40B4-BE49-F238E27FC236}">
                  <a16:creationId xmlns:a16="http://schemas.microsoft.com/office/drawing/2014/main" id="{B0C2A304-9FB6-4C54-AF07-D1F9025B9A13}"/>
                </a:ext>
              </a:extLst>
            </p:cNvPr>
            <p:cNvSpPr/>
            <p:nvPr/>
          </p:nvSpPr>
          <p:spPr bwMode="auto">
            <a:xfrm>
              <a:off x="4446588" y="4408488"/>
              <a:ext cx="407988" cy="463550"/>
            </a:xfrm>
            <a:custGeom>
              <a:avLst/>
              <a:gdLst>
                <a:gd name="T0" fmla="*/ 0 w 108"/>
                <a:gd name="T1" fmla="*/ 12 h 123"/>
                <a:gd name="T2" fmla="*/ 51 w 108"/>
                <a:gd name="T3" fmla="*/ 4 h 123"/>
                <a:gd name="T4" fmla="*/ 107 w 108"/>
                <a:gd name="T5" fmla="*/ 45 h 123"/>
                <a:gd name="T6" fmla="*/ 108 w 108"/>
                <a:gd name="T7" fmla="*/ 58 h 123"/>
                <a:gd name="T8" fmla="*/ 101 w 108"/>
                <a:gd name="T9" fmla="*/ 123 h 123"/>
                <a:gd name="T10" fmla="*/ 76 w 108"/>
                <a:gd name="T11" fmla="*/ 123 h 123"/>
                <a:gd name="T12" fmla="*/ 78 w 108"/>
                <a:gd name="T13" fmla="*/ 62 h 123"/>
                <a:gd name="T14" fmla="*/ 56 w 108"/>
                <a:gd name="T15" fmla="*/ 38 h 123"/>
                <a:gd name="T16" fmla="*/ 51 w 108"/>
                <a:gd name="T17" fmla="*/ 38 h 123"/>
                <a:gd name="T18" fmla="*/ 0 w 108"/>
                <a:gd name="T19" fmla="*/ 1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23">
                  <a:moveTo>
                    <a:pt x="0" y="12"/>
                  </a:moveTo>
                  <a:cubicBezTo>
                    <a:pt x="51" y="4"/>
                    <a:pt x="51" y="4"/>
                    <a:pt x="51" y="4"/>
                  </a:cubicBezTo>
                  <a:cubicBezTo>
                    <a:pt x="78" y="0"/>
                    <a:pt x="103" y="18"/>
                    <a:pt x="107" y="45"/>
                  </a:cubicBezTo>
                  <a:cubicBezTo>
                    <a:pt x="108" y="49"/>
                    <a:pt x="108" y="53"/>
                    <a:pt x="108" y="58"/>
                  </a:cubicBezTo>
                  <a:cubicBezTo>
                    <a:pt x="101" y="123"/>
                    <a:pt x="101" y="123"/>
                    <a:pt x="101" y="123"/>
                  </a:cubicBezTo>
                  <a:cubicBezTo>
                    <a:pt x="76" y="123"/>
                    <a:pt x="76" y="123"/>
                    <a:pt x="76" y="123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8" y="49"/>
                    <a:pt x="68" y="38"/>
                    <a:pt x="56" y="38"/>
                  </a:cubicBezTo>
                  <a:cubicBezTo>
                    <a:pt x="54" y="38"/>
                    <a:pt x="52" y="38"/>
                    <a:pt x="51" y="38"/>
                  </a:cubicBezTo>
                  <a:cubicBezTo>
                    <a:pt x="29" y="42"/>
                    <a:pt x="2" y="40"/>
                    <a:pt x="0" y="12"/>
                  </a:cubicBezTo>
                </a:path>
              </a:pathLst>
            </a:custGeom>
            <a:solidFill>
              <a:srgbClr val="2428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1" name="任意多边形 65">
              <a:extLst>
                <a:ext uri="{FF2B5EF4-FFF2-40B4-BE49-F238E27FC236}">
                  <a16:creationId xmlns:a16="http://schemas.microsoft.com/office/drawing/2014/main" id="{21C136FE-1492-4F51-8B3E-782079BCD685}"/>
                </a:ext>
              </a:extLst>
            </p:cNvPr>
            <p:cNvSpPr/>
            <p:nvPr/>
          </p:nvSpPr>
          <p:spPr bwMode="auto">
            <a:xfrm>
              <a:off x="4945063" y="4868863"/>
              <a:ext cx="142875" cy="98425"/>
            </a:xfrm>
            <a:custGeom>
              <a:avLst/>
              <a:gdLst>
                <a:gd name="T0" fmla="*/ 13 w 38"/>
                <a:gd name="T1" fmla="*/ 0 h 26"/>
                <a:gd name="T2" fmla="*/ 26 w 38"/>
                <a:gd name="T3" fmla="*/ 12 h 26"/>
                <a:gd name="T4" fmla="*/ 30 w 38"/>
                <a:gd name="T5" fmla="*/ 24 h 26"/>
                <a:gd name="T6" fmla="*/ 0 w 38"/>
                <a:gd name="T7" fmla="*/ 15 h 26"/>
                <a:gd name="T8" fmla="*/ 0 w 38"/>
                <a:gd name="T9" fmla="*/ 2 h 26"/>
                <a:gd name="T10" fmla="*/ 13 w 38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26">
                  <a:moveTo>
                    <a:pt x="13" y="0"/>
                  </a:moveTo>
                  <a:cubicBezTo>
                    <a:pt x="13" y="0"/>
                    <a:pt x="17" y="11"/>
                    <a:pt x="26" y="12"/>
                  </a:cubicBezTo>
                  <a:cubicBezTo>
                    <a:pt x="36" y="12"/>
                    <a:pt x="38" y="22"/>
                    <a:pt x="30" y="24"/>
                  </a:cubicBezTo>
                  <a:cubicBezTo>
                    <a:pt x="22" y="26"/>
                    <a:pt x="0" y="15"/>
                    <a:pt x="0" y="15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13" y="0"/>
                  </a:lnTo>
                  <a:close/>
                </a:path>
              </a:pathLst>
            </a:custGeom>
            <a:solidFill>
              <a:srgbClr val="68E1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2" name="任意多边形 66">
              <a:extLst>
                <a:ext uri="{FF2B5EF4-FFF2-40B4-BE49-F238E27FC236}">
                  <a16:creationId xmlns:a16="http://schemas.microsoft.com/office/drawing/2014/main" id="{A916D52D-F1FA-42F4-8B83-4DE559773914}"/>
                </a:ext>
              </a:extLst>
            </p:cNvPr>
            <p:cNvSpPr/>
            <p:nvPr/>
          </p:nvSpPr>
          <p:spPr bwMode="auto">
            <a:xfrm>
              <a:off x="4405313" y="3614738"/>
              <a:ext cx="257175" cy="698500"/>
            </a:xfrm>
            <a:custGeom>
              <a:avLst/>
              <a:gdLst>
                <a:gd name="T0" fmla="*/ 25 w 68"/>
                <a:gd name="T1" fmla="*/ 0 h 185"/>
                <a:gd name="T2" fmla="*/ 25 w 68"/>
                <a:gd name="T3" fmla="*/ 2 h 185"/>
                <a:gd name="T4" fmla="*/ 25 w 68"/>
                <a:gd name="T5" fmla="*/ 17 h 185"/>
                <a:gd name="T6" fmla="*/ 1 w 68"/>
                <a:gd name="T7" fmla="*/ 148 h 185"/>
                <a:gd name="T8" fmla="*/ 1 w 68"/>
                <a:gd name="T9" fmla="*/ 152 h 185"/>
                <a:gd name="T10" fmla="*/ 0 w 68"/>
                <a:gd name="T11" fmla="*/ 155 h 185"/>
                <a:gd name="T12" fmla="*/ 20 w 68"/>
                <a:gd name="T13" fmla="*/ 178 h 185"/>
                <a:gd name="T14" fmla="*/ 68 w 68"/>
                <a:gd name="T15" fmla="*/ 185 h 185"/>
                <a:gd name="T16" fmla="*/ 40 w 68"/>
                <a:gd name="T17" fmla="*/ 66 h 185"/>
                <a:gd name="T18" fmla="*/ 43 w 68"/>
                <a:gd name="T19" fmla="*/ 49 h 185"/>
                <a:gd name="T20" fmla="*/ 25 w 68"/>
                <a:gd name="T21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" h="185">
                  <a:moveTo>
                    <a:pt x="25" y="0"/>
                  </a:moveTo>
                  <a:cubicBezTo>
                    <a:pt x="25" y="1"/>
                    <a:pt x="25" y="2"/>
                    <a:pt x="25" y="2"/>
                  </a:cubicBezTo>
                  <a:cubicBezTo>
                    <a:pt x="25" y="7"/>
                    <a:pt x="25" y="12"/>
                    <a:pt x="25" y="17"/>
                  </a:cubicBezTo>
                  <a:cubicBezTo>
                    <a:pt x="25" y="61"/>
                    <a:pt x="11" y="116"/>
                    <a:pt x="1" y="148"/>
                  </a:cubicBezTo>
                  <a:cubicBezTo>
                    <a:pt x="1" y="149"/>
                    <a:pt x="1" y="150"/>
                    <a:pt x="1" y="152"/>
                  </a:cubicBezTo>
                  <a:cubicBezTo>
                    <a:pt x="0" y="153"/>
                    <a:pt x="0" y="154"/>
                    <a:pt x="0" y="155"/>
                  </a:cubicBezTo>
                  <a:cubicBezTo>
                    <a:pt x="0" y="166"/>
                    <a:pt x="9" y="176"/>
                    <a:pt x="20" y="178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43" y="151"/>
                    <a:pt x="33" y="108"/>
                    <a:pt x="40" y="66"/>
                  </a:cubicBezTo>
                  <a:cubicBezTo>
                    <a:pt x="41" y="59"/>
                    <a:pt x="42" y="54"/>
                    <a:pt x="43" y="49"/>
                  </a:cubicBezTo>
                  <a:cubicBezTo>
                    <a:pt x="47" y="28"/>
                    <a:pt x="33" y="9"/>
                    <a:pt x="25" y="0"/>
                  </a:cubicBezTo>
                </a:path>
              </a:pathLst>
            </a:custGeom>
            <a:solidFill>
              <a:srgbClr val="60CF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3" name="任意多边形 67">
              <a:extLst>
                <a:ext uri="{FF2B5EF4-FFF2-40B4-BE49-F238E27FC236}">
                  <a16:creationId xmlns:a16="http://schemas.microsoft.com/office/drawing/2014/main" id="{10C9435A-339C-4DED-AEF3-D1E749BEE0A9}"/>
                </a:ext>
              </a:extLst>
            </p:cNvPr>
            <p:cNvSpPr/>
            <p:nvPr/>
          </p:nvSpPr>
          <p:spPr bwMode="auto">
            <a:xfrm>
              <a:off x="4440238" y="4441825"/>
              <a:ext cx="6350" cy="11113"/>
            </a:xfrm>
            <a:custGeom>
              <a:avLst/>
              <a:gdLst>
                <a:gd name="T0" fmla="*/ 0 w 2"/>
                <a:gd name="T1" fmla="*/ 0 h 3"/>
                <a:gd name="T2" fmla="*/ 2 w 2"/>
                <a:gd name="T3" fmla="*/ 3 h 3"/>
                <a:gd name="T4" fmla="*/ 2 w 2"/>
                <a:gd name="T5" fmla="*/ 3 h 3"/>
                <a:gd name="T6" fmla="*/ 2 w 2"/>
                <a:gd name="T7" fmla="*/ 3 h 3"/>
                <a:gd name="T8" fmla="*/ 2 w 2"/>
                <a:gd name="T9" fmla="*/ 3 h 3"/>
                <a:gd name="T10" fmla="*/ 0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2"/>
                    <a:pt x="1" y="1"/>
                    <a:pt x="0" y="0"/>
                  </a:cubicBezTo>
                </a:path>
              </a:pathLst>
            </a:custGeom>
            <a:solidFill>
              <a:srgbClr val="E4E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4" name="任意多边形 68">
              <a:extLst>
                <a:ext uri="{FF2B5EF4-FFF2-40B4-BE49-F238E27FC236}">
                  <a16:creationId xmlns:a16="http://schemas.microsoft.com/office/drawing/2014/main" id="{2370C604-24DD-4F25-BF2B-C9B125CDBE9A}"/>
                </a:ext>
              </a:extLst>
            </p:cNvPr>
            <p:cNvSpPr/>
            <p:nvPr/>
          </p:nvSpPr>
          <p:spPr bwMode="auto">
            <a:xfrm>
              <a:off x="4421188" y="4376738"/>
              <a:ext cx="350838" cy="76200"/>
            </a:xfrm>
            <a:custGeom>
              <a:avLst/>
              <a:gdLst>
                <a:gd name="T0" fmla="*/ 78 w 93"/>
                <a:gd name="T1" fmla="*/ 0 h 20"/>
                <a:gd name="T2" fmla="*/ 78 w 93"/>
                <a:gd name="T3" fmla="*/ 11 h 20"/>
                <a:gd name="T4" fmla="*/ 0 w 93"/>
                <a:gd name="T5" fmla="*/ 6 h 20"/>
                <a:gd name="T6" fmla="*/ 5 w 93"/>
                <a:gd name="T7" fmla="*/ 17 h 20"/>
                <a:gd name="T8" fmla="*/ 7 w 93"/>
                <a:gd name="T9" fmla="*/ 20 h 20"/>
                <a:gd name="T10" fmla="*/ 7 w 93"/>
                <a:gd name="T11" fmla="*/ 20 h 20"/>
                <a:gd name="T12" fmla="*/ 7 w 93"/>
                <a:gd name="T13" fmla="*/ 20 h 20"/>
                <a:gd name="T14" fmla="*/ 58 w 93"/>
                <a:gd name="T15" fmla="*/ 12 h 20"/>
                <a:gd name="T16" fmla="*/ 66 w 93"/>
                <a:gd name="T17" fmla="*/ 11 h 20"/>
                <a:gd name="T18" fmla="*/ 89 w 93"/>
                <a:gd name="T19" fmla="*/ 17 h 20"/>
                <a:gd name="T20" fmla="*/ 93 w 93"/>
                <a:gd name="T21" fmla="*/ 17 h 20"/>
                <a:gd name="T22" fmla="*/ 78 w 93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3" h="20">
                  <a:moveTo>
                    <a:pt x="78" y="0"/>
                  </a:moveTo>
                  <a:cubicBezTo>
                    <a:pt x="78" y="11"/>
                    <a:pt x="78" y="11"/>
                    <a:pt x="78" y="1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8"/>
                    <a:pt x="6" y="19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61" y="11"/>
                    <a:pt x="63" y="11"/>
                    <a:pt x="66" y="11"/>
                  </a:cubicBezTo>
                  <a:cubicBezTo>
                    <a:pt x="74" y="11"/>
                    <a:pt x="82" y="13"/>
                    <a:pt x="89" y="1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78" y="0"/>
                    <a:pt x="78" y="0"/>
                    <a:pt x="78" y="0"/>
                  </a:cubicBezTo>
                </a:path>
              </a:pathLst>
            </a:custGeom>
            <a:solidFill>
              <a:srgbClr val="60CF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5" name="任意多边形 69">
              <a:extLst>
                <a:ext uri="{FF2B5EF4-FFF2-40B4-BE49-F238E27FC236}">
                  <a16:creationId xmlns:a16="http://schemas.microsoft.com/office/drawing/2014/main" id="{426B01D7-CDC2-4A56-9754-B481219C16DE}"/>
                </a:ext>
              </a:extLst>
            </p:cNvPr>
            <p:cNvSpPr/>
            <p:nvPr/>
          </p:nvSpPr>
          <p:spPr bwMode="auto">
            <a:xfrm>
              <a:off x="4446588" y="4419600"/>
              <a:ext cx="309563" cy="33338"/>
            </a:xfrm>
            <a:custGeom>
              <a:avLst/>
              <a:gdLst>
                <a:gd name="T0" fmla="*/ 59 w 82"/>
                <a:gd name="T1" fmla="*/ 0 h 9"/>
                <a:gd name="T2" fmla="*/ 51 w 82"/>
                <a:gd name="T3" fmla="*/ 1 h 9"/>
                <a:gd name="T4" fmla="*/ 0 w 82"/>
                <a:gd name="T5" fmla="*/ 9 h 9"/>
                <a:gd name="T6" fmla="*/ 0 w 82"/>
                <a:gd name="T7" fmla="*/ 9 h 9"/>
                <a:gd name="T8" fmla="*/ 0 w 82"/>
                <a:gd name="T9" fmla="*/ 9 h 9"/>
                <a:gd name="T10" fmla="*/ 82 w 82"/>
                <a:gd name="T11" fmla="*/ 6 h 9"/>
                <a:gd name="T12" fmla="*/ 59 w 8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9">
                  <a:moveTo>
                    <a:pt x="59" y="0"/>
                  </a:moveTo>
                  <a:cubicBezTo>
                    <a:pt x="56" y="0"/>
                    <a:pt x="54" y="0"/>
                    <a:pt x="51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75" y="2"/>
                    <a:pt x="67" y="0"/>
                    <a:pt x="59" y="0"/>
                  </a:cubicBezTo>
                </a:path>
              </a:pathLst>
            </a:custGeom>
            <a:solidFill>
              <a:srgbClr val="2125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6" name="任意多边形 70">
              <a:extLst>
                <a:ext uri="{FF2B5EF4-FFF2-40B4-BE49-F238E27FC236}">
                  <a16:creationId xmlns:a16="http://schemas.microsoft.com/office/drawing/2014/main" id="{BE1B51C2-8243-4139-BEF5-B77EA6267A0F}"/>
                </a:ext>
              </a:extLst>
            </p:cNvPr>
            <p:cNvSpPr/>
            <p:nvPr/>
          </p:nvSpPr>
          <p:spPr bwMode="auto">
            <a:xfrm>
              <a:off x="4643438" y="4408488"/>
              <a:ext cx="411163" cy="463550"/>
            </a:xfrm>
            <a:custGeom>
              <a:avLst/>
              <a:gdLst>
                <a:gd name="T0" fmla="*/ 0 w 109"/>
                <a:gd name="T1" fmla="*/ 12 h 123"/>
                <a:gd name="T2" fmla="*/ 52 w 109"/>
                <a:gd name="T3" fmla="*/ 4 h 123"/>
                <a:gd name="T4" fmla="*/ 108 w 109"/>
                <a:gd name="T5" fmla="*/ 45 h 123"/>
                <a:gd name="T6" fmla="*/ 108 w 109"/>
                <a:gd name="T7" fmla="*/ 58 h 123"/>
                <a:gd name="T8" fmla="*/ 101 w 109"/>
                <a:gd name="T9" fmla="*/ 123 h 123"/>
                <a:gd name="T10" fmla="*/ 76 w 109"/>
                <a:gd name="T11" fmla="*/ 123 h 123"/>
                <a:gd name="T12" fmla="*/ 78 w 109"/>
                <a:gd name="T13" fmla="*/ 62 h 123"/>
                <a:gd name="T14" fmla="*/ 56 w 109"/>
                <a:gd name="T15" fmla="*/ 38 h 123"/>
                <a:gd name="T16" fmla="*/ 51 w 109"/>
                <a:gd name="T17" fmla="*/ 38 h 123"/>
                <a:gd name="T18" fmla="*/ 0 w 109"/>
                <a:gd name="T19" fmla="*/ 1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123">
                  <a:moveTo>
                    <a:pt x="0" y="12"/>
                  </a:moveTo>
                  <a:cubicBezTo>
                    <a:pt x="52" y="4"/>
                    <a:pt x="52" y="4"/>
                    <a:pt x="52" y="4"/>
                  </a:cubicBezTo>
                  <a:cubicBezTo>
                    <a:pt x="79" y="0"/>
                    <a:pt x="104" y="18"/>
                    <a:pt x="108" y="45"/>
                  </a:cubicBezTo>
                  <a:cubicBezTo>
                    <a:pt x="109" y="49"/>
                    <a:pt x="109" y="53"/>
                    <a:pt x="108" y="58"/>
                  </a:cubicBezTo>
                  <a:cubicBezTo>
                    <a:pt x="101" y="123"/>
                    <a:pt x="101" y="123"/>
                    <a:pt x="101" y="123"/>
                  </a:cubicBezTo>
                  <a:cubicBezTo>
                    <a:pt x="76" y="123"/>
                    <a:pt x="76" y="123"/>
                    <a:pt x="76" y="123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9" y="49"/>
                    <a:pt x="69" y="38"/>
                    <a:pt x="56" y="38"/>
                  </a:cubicBezTo>
                  <a:cubicBezTo>
                    <a:pt x="55" y="38"/>
                    <a:pt x="53" y="38"/>
                    <a:pt x="51" y="38"/>
                  </a:cubicBezTo>
                  <a:cubicBezTo>
                    <a:pt x="30" y="42"/>
                    <a:pt x="2" y="40"/>
                    <a:pt x="0" y="12"/>
                  </a:cubicBezTo>
                  <a:close/>
                </a:path>
              </a:pathLst>
            </a:custGeom>
            <a:solidFill>
              <a:srgbClr val="2428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7" name="任意多边形 71">
              <a:extLst>
                <a:ext uri="{FF2B5EF4-FFF2-40B4-BE49-F238E27FC236}">
                  <a16:creationId xmlns:a16="http://schemas.microsoft.com/office/drawing/2014/main" id="{482D360D-11FE-437F-BD95-C59E56B9551A}"/>
                </a:ext>
              </a:extLst>
            </p:cNvPr>
            <p:cNvSpPr/>
            <p:nvPr/>
          </p:nvSpPr>
          <p:spPr bwMode="auto">
            <a:xfrm>
              <a:off x="4152900" y="3511550"/>
              <a:ext cx="561975" cy="908050"/>
            </a:xfrm>
            <a:custGeom>
              <a:avLst/>
              <a:gdLst>
                <a:gd name="T0" fmla="*/ 37 w 149"/>
                <a:gd name="T1" fmla="*/ 14 h 240"/>
                <a:gd name="T2" fmla="*/ 15 w 149"/>
                <a:gd name="T3" fmla="*/ 188 h 240"/>
                <a:gd name="T4" fmla="*/ 68 w 149"/>
                <a:gd name="T5" fmla="*/ 235 h 240"/>
                <a:gd name="T6" fmla="*/ 149 w 149"/>
                <a:gd name="T7" fmla="*/ 240 h 240"/>
                <a:gd name="T8" fmla="*/ 149 w 149"/>
                <a:gd name="T9" fmla="*/ 214 h 240"/>
                <a:gd name="T10" fmla="*/ 87 w 149"/>
                <a:gd name="T11" fmla="*/ 205 h 240"/>
                <a:gd name="T12" fmla="*/ 68 w 149"/>
                <a:gd name="T13" fmla="*/ 179 h 240"/>
                <a:gd name="T14" fmla="*/ 68 w 149"/>
                <a:gd name="T15" fmla="*/ 175 h 240"/>
                <a:gd name="T16" fmla="*/ 92 w 149"/>
                <a:gd name="T17" fmla="*/ 29 h 240"/>
                <a:gd name="T18" fmla="*/ 59 w 149"/>
                <a:gd name="T19" fmla="*/ 2 h 240"/>
                <a:gd name="T20" fmla="*/ 37 w 149"/>
                <a:gd name="T21" fmla="*/ 14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9" h="240">
                  <a:moveTo>
                    <a:pt x="37" y="14"/>
                  </a:moveTo>
                  <a:cubicBezTo>
                    <a:pt x="18" y="42"/>
                    <a:pt x="0" y="103"/>
                    <a:pt x="15" y="188"/>
                  </a:cubicBezTo>
                  <a:cubicBezTo>
                    <a:pt x="20" y="214"/>
                    <a:pt x="42" y="234"/>
                    <a:pt x="68" y="235"/>
                  </a:cubicBezTo>
                  <a:cubicBezTo>
                    <a:pt x="149" y="240"/>
                    <a:pt x="149" y="240"/>
                    <a:pt x="149" y="240"/>
                  </a:cubicBezTo>
                  <a:cubicBezTo>
                    <a:pt x="149" y="214"/>
                    <a:pt x="149" y="214"/>
                    <a:pt x="149" y="214"/>
                  </a:cubicBezTo>
                  <a:cubicBezTo>
                    <a:pt x="87" y="205"/>
                    <a:pt x="87" y="205"/>
                    <a:pt x="87" y="205"/>
                  </a:cubicBezTo>
                  <a:cubicBezTo>
                    <a:pt x="75" y="203"/>
                    <a:pt x="66" y="191"/>
                    <a:pt x="68" y="179"/>
                  </a:cubicBezTo>
                  <a:cubicBezTo>
                    <a:pt x="68" y="177"/>
                    <a:pt x="68" y="176"/>
                    <a:pt x="68" y="175"/>
                  </a:cubicBezTo>
                  <a:cubicBezTo>
                    <a:pt x="79" y="140"/>
                    <a:pt x="96" y="75"/>
                    <a:pt x="92" y="29"/>
                  </a:cubicBezTo>
                  <a:cubicBezTo>
                    <a:pt x="90" y="13"/>
                    <a:pt x="76" y="0"/>
                    <a:pt x="59" y="2"/>
                  </a:cubicBezTo>
                  <a:cubicBezTo>
                    <a:pt x="50" y="2"/>
                    <a:pt x="42" y="7"/>
                    <a:pt x="37" y="14"/>
                  </a:cubicBezTo>
                </a:path>
              </a:pathLst>
            </a:custGeom>
            <a:solidFill>
              <a:srgbClr val="68E1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8" name="任意多边形 72">
              <a:extLst>
                <a:ext uri="{FF2B5EF4-FFF2-40B4-BE49-F238E27FC236}">
                  <a16:creationId xmlns:a16="http://schemas.microsoft.com/office/drawing/2014/main" id="{9C25EB75-D0BC-4104-995C-B42775A8EC02}"/>
                </a:ext>
              </a:extLst>
            </p:cNvPr>
            <p:cNvSpPr/>
            <p:nvPr/>
          </p:nvSpPr>
          <p:spPr bwMode="auto">
            <a:xfrm>
              <a:off x="4191000" y="3519488"/>
              <a:ext cx="523875" cy="900113"/>
            </a:xfrm>
            <a:custGeom>
              <a:avLst/>
              <a:gdLst>
                <a:gd name="T0" fmla="*/ 52 w 139"/>
                <a:gd name="T1" fmla="*/ 0 h 238"/>
                <a:gd name="T2" fmla="*/ 49 w 139"/>
                <a:gd name="T3" fmla="*/ 0 h 238"/>
                <a:gd name="T4" fmla="*/ 27 w 139"/>
                <a:gd name="T5" fmla="*/ 12 h 238"/>
                <a:gd name="T6" fmla="*/ 0 w 139"/>
                <a:gd name="T7" fmla="*/ 123 h 238"/>
                <a:gd name="T8" fmla="*/ 5 w 139"/>
                <a:gd name="T9" fmla="*/ 186 h 238"/>
                <a:gd name="T10" fmla="*/ 58 w 139"/>
                <a:gd name="T11" fmla="*/ 233 h 238"/>
                <a:gd name="T12" fmla="*/ 139 w 139"/>
                <a:gd name="T13" fmla="*/ 238 h 238"/>
                <a:gd name="T14" fmla="*/ 139 w 139"/>
                <a:gd name="T15" fmla="*/ 212 h 238"/>
                <a:gd name="T16" fmla="*/ 77 w 139"/>
                <a:gd name="T17" fmla="*/ 203 h 238"/>
                <a:gd name="T18" fmla="*/ 57 w 139"/>
                <a:gd name="T19" fmla="*/ 180 h 238"/>
                <a:gd name="T20" fmla="*/ 58 w 139"/>
                <a:gd name="T21" fmla="*/ 177 h 238"/>
                <a:gd name="T22" fmla="*/ 58 w 139"/>
                <a:gd name="T23" fmla="*/ 173 h 238"/>
                <a:gd name="T24" fmla="*/ 82 w 139"/>
                <a:gd name="T25" fmla="*/ 42 h 238"/>
                <a:gd name="T26" fmla="*/ 82 w 139"/>
                <a:gd name="T27" fmla="*/ 27 h 238"/>
                <a:gd name="T28" fmla="*/ 52 w 139"/>
                <a:gd name="T29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" h="238">
                  <a:moveTo>
                    <a:pt x="52" y="0"/>
                  </a:moveTo>
                  <a:cubicBezTo>
                    <a:pt x="51" y="0"/>
                    <a:pt x="50" y="0"/>
                    <a:pt x="49" y="0"/>
                  </a:cubicBezTo>
                  <a:cubicBezTo>
                    <a:pt x="40" y="0"/>
                    <a:pt x="32" y="5"/>
                    <a:pt x="27" y="12"/>
                  </a:cubicBezTo>
                  <a:cubicBezTo>
                    <a:pt x="13" y="33"/>
                    <a:pt x="0" y="71"/>
                    <a:pt x="0" y="123"/>
                  </a:cubicBezTo>
                  <a:cubicBezTo>
                    <a:pt x="0" y="142"/>
                    <a:pt x="1" y="163"/>
                    <a:pt x="5" y="186"/>
                  </a:cubicBezTo>
                  <a:cubicBezTo>
                    <a:pt x="10" y="212"/>
                    <a:pt x="32" y="232"/>
                    <a:pt x="58" y="233"/>
                  </a:cubicBezTo>
                  <a:cubicBezTo>
                    <a:pt x="139" y="238"/>
                    <a:pt x="139" y="238"/>
                    <a:pt x="139" y="23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77" y="203"/>
                    <a:pt x="77" y="203"/>
                    <a:pt x="77" y="203"/>
                  </a:cubicBezTo>
                  <a:cubicBezTo>
                    <a:pt x="66" y="201"/>
                    <a:pt x="57" y="191"/>
                    <a:pt x="57" y="180"/>
                  </a:cubicBezTo>
                  <a:cubicBezTo>
                    <a:pt x="57" y="179"/>
                    <a:pt x="57" y="178"/>
                    <a:pt x="58" y="177"/>
                  </a:cubicBezTo>
                  <a:cubicBezTo>
                    <a:pt x="58" y="175"/>
                    <a:pt x="58" y="174"/>
                    <a:pt x="58" y="173"/>
                  </a:cubicBezTo>
                  <a:cubicBezTo>
                    <a:pt x="68" y="141"/>
                    <a:pt x="82" y="86"/>
                    <a:pt x="82" y="42"/>
                  </a:cubicBezTo>
                  <a:cubicBezTo>
                    <a:pt x="82" y="37"/>
                    <a:pt x="82" y="32"/>
                    <a:pt x="82" y="27"/>
                  </a:cubicBezTo>
                  <a:cubicBezTo>
                    <a:pt x="81" y="12"/>
                    <a:pt x="67" y="0"/>
                    <a:pt x="52" y="0"/>
                  </a:cubicBezTo>
                </a:path>
              </a:pathLst>
            </a:custGeom>
            <a:solidFill>
              <a:srgbClr val="ADE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9" name="任意多边形 73">
              <a:extLst>
                <a:ext uri="{FF2B5EF4-FFF2-40B4-BE49-F238E27FC236}">
                  <a16:creationId xmlns:a16="http://schemas.microsoft.com/office/drawing/2014/main" id="{BAEA5D10-C7E0-4CFF-9240-93F790913894}"/>
                </a:ext>
              </a:extLst>
            </p:cNvPr>
            <p:cNvSpPr/>
            <p:nvPr/>
          </p:nvSpPr>
          <p:spPr bwMode="auto">
            <a:xfrm>
              <a:off x="4714875" y="4343400"/>
              <a:ext cx="120650" cy="128588"/>
            </a:xfrm>
            <a:custGeom>
              <a:avLst/>
              <a:gdLst>
                <a:gd name="T0" fmla="*/ 0 w 32"/>
                <a:gd name="T1" fmla="*/ 0 h 34"/>
                <a:gd name="T2" fmla="*/ 28 w 32"/>
                <a:gd name="T3" fmla="*/ 17 h 34"/>
                <a:gd name="T4" fmla="*/ 0 w 32"/>
                <a:gd name="T5" fmla="*/ 20 h 34"/>
                <a:gd name="T6" fmla="*/ 0 w 32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4">
                  <a:moveTo>
                    <a:pt x="0" y="0"/>
                  </a:moveTo>
                  <a:cubicBezTo>
                    <a:pt x="0" y="0"/>
                    <a:pt x="32" y="0"/>
                    <a:pt x="28" y="17"/>
                  </a:cubicBezTo>
                  <a:cubicBezTo>
                    <a:pt x="23" y="34"/>
                    <a:pt x="0" y="20"/>
                    <a:pt x="0" y="2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4A2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0" name="任意多边形 74">
              <a:extLst>
                <a:ext uri="{FF2B5EF4-FFF2-40B4-BE49-F238E27FC236}">
                  <a16:creationId xmlns:a16="http://schemas.microsoft.com/office/drawing/2014/main" id="{10034947-C03F-4BD0-90D8-CD7FAE3A7109}"/>
                </a:ext>
              </a:extLst>
            </p:cNvPr>
            <p:cNvSpPr/>
            <p:nvPr/>
          </p:nvSpPr>
          <p:spPr bwMode="auto">
            <a:xfrm>
              <a:off x="4627563" y="4162425"/>
              <a:ext cx="547688" cy="279400"/>
            </a:xfrm>
            <a:custGeom>
              <a:avLst/>
              <a:gdLst>
                <a:gd name="T0" fmla="*/ 312 w 345"/>
                <a:gd name="T1" fmla="*/ 176 h 176"/>
                <a:gd name="T2" fmla="*/ 345 w 345"/>
                <a:gd name="T3" fmla="*/ 0 h 176"/>
                <a:gd name="T4" fmla="*/ 122 w 345"/>
                <a:gd name="T5" fmla="*/ 0 h 176"/>
                <a:gd name="T6" fmla="*/ 103 w 345"/>
                <a:gd name="T7" fmla="*/ 150 h 176"/>
                <a:gd name="T8" fmla="*/ 0 w 345"/>
                <a:gd name="T9" fmla="*/ 152 h 176"/>
                <a:gd name="T10" fmla="*/ 0 w 345"/>
                <a:gd name="T11" fmla="*/ 176 h 176"/>
                <a:gd name="T12" fmla="*/ 312 w 345"/>
                <a:gd name="T13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5" h="176">
                  <a:moveTo>
                    <a:pt x="312" y="176"/>
                  </a:moveTo>
                  <a:lnTo>
                    <a:pt x="345" y="0"/>
                  </a:lnTo>
                  <a:lnTo>
                    <a:pt x="122" y="0"/>
                  </a:lnTo>
                  <a:lnTo>
                    <a:pt x="103" y="150"/>
                  </a:lnTo>
                  <a:lnTo>
                    <a:pt x="0" y="152"/>
                  </a:lnTo>
                  <a:lnTo>
                    <a:pt x="0" y="176"/>
                  </a:lnTo>
                  <a:lnTo>
                    <a:pt x="312" y="176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1" name="椭圆 75">
              <a:extLst>
                <a:ext uri="{FF2B5EF4-FFF2-40B4-BE49-F238E27FC236}">
                  <a16:creationId xmlns:a16="http://schemas.microsoft.com/office/drawing/2014/main" id="{7E04ABE1-10E5-4BF8-A00C-D78A7746BBF9}"/>
                </a:ext>
              </a:extLst>
            </p:cNvPr>
            <p:cNvSpPr/>
            <p:nvPr/>
          </p:nvSpPr>
          <p:spPr bwMode="auto">
            <a:xfrm>
              <a:off x="4948238" y="4260850"/>
              <a:ext cx="73025" cy="714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2" name="任意多边形 76">
              <a:extLst>
                <a:ext uri="{FF2B5EF4-FFF2-40B4-BE49-F238E27FC236}">
                  <a16:creationId xmlns:a16="http://schemas.microsoft.com/office/drawing/2014/main" id="{81CFF0E9-9070-48A3-953F-F9F1D87330E6}"/>
                </a:ext>
              </a:extLst>
            </p:cNvPr>
            <p:cNvSpPr/>
            <p:nvPr/>
          </p:nvSpPr>
          <p:spPr bwMode="auto">
            <a:xfrm>
              <a:off x="4564063" y="3387725"/>
              <a:ext cx="347663" cy="211138"/>
            </a:xfrm>
            <a:custGeom>
              <a:avLst/>
              <a:gdLst>
                <a:gd name="T0" fmla="*/ 11 w 92"/>
                <a:gd name="T1" fmla="*/ 15 h 56"/>
                <a:gd name="T2" fmla="*/ 30 w 92"/>
                <a:gd name="T3" fmla="*/ 2 h 56"/>
                <a:gd name="T4" fmla="*/ 84 w 92"/>
                <a:gd name="T5" fmla="*/ 30 h 56"/>
                <a:gd name="T6" fmla="*/ 11 w 92"/>
                <a:gd name="T7" fmla="*/ 1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56">
                  <a:moveTo>
                    <a:pt x="11" y="15"/>
                  </a:moveTo>
                  <a:cubicBezTo>
                    <a:pt x="11" y="15"/>
                    <a:pt x="0" y="3"/>
                    <a:pt x="30" y="2"/>
                  </a:cubicBezTo>
                  <a:cubicBezTo>
                    <a:pt x="61" y="0"/>
                    <a:pt x="92" y="4"/>
                    <a:pt x="84" y="30"/>
                  </a:cubicBezTo>
                  <a:cubicBezTo>
                    <a:pt x="77" y="56"/>
                    <a:pt x="11" y="15"/>
                    <a:pt x="11" y="15"/>
                  </a:cubicBezTo>
                </a:path>
              </a:pathLst>
            </a:custGeom>
            <a:solidFill>
              <a:srgbClr val="68E1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3" name="任意多边形 77">
              <a:extLst>
                <a:ext uri="{FF2B5EF4-FFF2-40B4-BE49-F238E27FC236}">
                  <a16:creationId xmlns:a16="http://schemas.microsoft.com/office/drawing/2014/main" id="{2C1CD265-9FA9-48C2-8F3F-0DEFC47F48C8}"/>
                </a:ext>
              </a:extLst>
            </p:cNvPr>
            <p:cNvSpPr/>
            <p:nvPr/>
          </p:nvSpPr>
          <p:spPr bwMode="auto">
            <a:xfrm>
              <a:off x="4597400" y="3390900"/>
              <a:ext cx="287338" cy="144463"/>
            </a:xfrm>
            <a:custGeom>
              <a:avLst/>
              <a:gdLst>
                <a:gd name="T0" fmla="*/ 31 w 76"/>
                <a:gd name="T1" fmla="*/ 0 h 38"/>
                <a:gd name="T2" fmla="*/ 21 w 76"/>
                <a:gd name="T3" fmla="*/ 1 h 38"/>
                <a:gd name="T4" fmla="*/ 0 w 76"/>
                <a:gd name="T5" fmla="*/ 9 h 38"/>
                <a:gd name="T6" fmla="*/ 2 w 76"/>
                <a:gd name="T7" fmla="*/ 14 h 38"/>
                <a:gd name="T8" fmla="*/ 62 w 76"/>
                <a:gd name="T9" fmla="*/ 38 h 38"/>
                <a:gd name="T10" fmla="*/ 75 w 76"/>
                <a:gd name="T11" fmla="*/ 29 h 38"/>
                <a:gd name="T12" fmla="*/ 76 w 76"/>
                <a:gd name="T13" fmla="*/ 22 h 38"/>
                <a:gd name="T14" fmla="*/ 31 w 76"/>
                <a:gd name="T1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38">
                  <a:moveTo>
                    <a:pt x="31" y="0"/>
                  </a:moveTo>
                  <a:cubicBezTo>
                    <a:pt x="28" y="0"/>
                    <a:pt x="25" y="1"/>
                    <a:pt x="21" y="1"/>
                  </a:cubicBezTo>
                  <a:cubicBezTo>
                    <a:pt x="4" y="1"/>
                    <a:pt x="0" y="6"/>
                    <a:pt x="0" y="9"/>
                  </a:cubicBezTo>
                  <a:cubicBezTo>
                    <a:pt x="0" y="12"/>
                    <a:pt x="2" y="14"/>
                    <a:pt x="2" y="14"/>
                  </a:cubicBezTo>
                  <a:cubicBezTo>
                    <a:pt x="2" y="14"/>
                    <a:pt x="40" y="38"/>
                    <a:pt x="62" y="38"/>
                  </a:cubicBezTo>
                  <a:cubicBezTo>
                    <a:pt x="69" y="38"/>
                    <a:pt x="74" y="35"/>
                    <a:pt x="75" y="29"/>
                  </a:cubicBezTo>
                  <a:cubicBezTo>
                    <a:pt x="76" y="26"/>
                    <a:pt x="76" y="24"/>
                    <a:pt x="76" y="22"/>
                  </a:cubicBezTo>
                  <a:cubicBezTo>
                    <a:pt x="76" y="5"/>
                    <a:pt x="55" y="0"/>
                    <a:pt x="31" y="0"/>
                  </a:cubicBezTo>
                </a:path>
              </a:pathLst>
            </a:custGeom>
            <a:solidFill>
              <a:srgbClr val="ADE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4" name="任意多边形 78">
              <a:extLst>
                <a:ext uri="{FF2B5EF4-FFF2-40B4-BE49-F238E27FC236}">
                  <a16:creationId xmlns:a16="http://schemas.microsoft.com/office/drawing/2014/main" id="{86926E53-D21E-4A3B-8C3C-1D5CFFFF52A7}"/>
                </a:ext>
              </a:extLst>
            </p:cNvPr>
            <p:cNvSpPr/>
            <p:nvPr/>
          </p:nvSpPr>
          <p:spPr bwMode="auto">
            <a:xfrm>
              <a:off x="7639050" y="2768600"/>
              <a:ext cx="153988" cy="127000"/>
            </a:xfrm>
            <a:custGeom>
              <a:avLst/>
              <a:gdLst>
                <a:gd name="T0" fmla="*/ 8 w 41"/>
                <a:gd name="T1" fmla="*/ 0 h 34"/>
                <a:gd name="T2" fmla="*/ 0 w 41"/>
                <a:gd name="T3" fmla="*/ 1 h 34"/>
                <a:gd name="T4" fmla="*/ 31 w 41"/>
                <a:gd name="T5" fmla="*/ 31 h 34"/>
                <a:gd name="T6" fmla="*/ 41 w 41"/>
                <a:gd name="T7" fmla="*/ 34 h 34"/>
                <a:gd name="T8" fmla="*/ 40 w 41"/>
                <a:gd name="T9" fmla="*/ 29 h 34"/>
                <a:gd name="T10" fmla="*/ 34 w 41"/>
                <a:gd name="T11" fmla="*/ 29 h 34"/>
                <a:gd name="T12" fmla="*/ 26 w 41"/>
                <a:gd name="T13" fmla="*/ 4 h 34"/>
                <a:gd name="T14" fmla="*/ 8 w 41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4">
                  <a:moveTo>
                    <a:pt x="8" y="0"/>
                  </a:moveTo>
                  <a:cubicBezTo>
                    <a:pt x="3" y="0"/>
                    <a:pt x="0" y="1"/>
                    <a:pt x="0" y="1"/>
                  </a:cubicBezTo>
                  <a:cubicBezTo>
                    <a:pt x="6" y="24"/>
                    <a:pt x="31" y="31"/>
                    <a:pt x="31" y="31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2"/>
                    <a:pt x="41" y="30"/>
                    <a:pt x="40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9"/>
                    <a:pt x="28" y="18"/>
                    <a:pt x="26" y="4"/>
                  </a:cubicBezTo>
                  <a:cubicBezTo>
                    <a:pt x="20" y="1"/>
                    <a:pt x="13" y="0"/>
                    <a:pt x="8" y="0"/>
                  </a:cubicBezTo>
                </a:path>
              </a:pathLst>
            </a:custGeom>
            <a:solidFill>
              <a:srgbClr val="A4EB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5" name="任意多边形 79">
              <a:extLst>
                <a:ext uri="{FF2B5EF4-FFF2-40B4-BE49-F238E27FC236}">
                  <a16:creationId xmlns:a16="http://schemas.microsoft.com/office/drawing/2014/main" id="{4C1EC24E-CCAE-4C02-A6D6-5A5E787FA324}"/>
                </a:ext>
              </a:extLst>
            </p:cNvPr>
            <p:cNvSpPr/>
            <p:nvPr/>
          </p:nvSpPr>
          <p:spPr bwMode="auto">
            <a:xfrm>
              <a:off x="7732713" y="2670175"/>
              <a:ext cx="139700" cy="207963"/>
            </a:xfrm>
            <a:custGeom>
              <a:avLst/>
              <a:gdLst>
                <a:gd name="T0" fmla="*/ 7 w 37"/>
                <a:gd name="T1" fmla="*/ 0 h 55"/>
                <a:gd name="T2" fmla="*/ 1 w 37"/>
                <a:gd name="T3" fmla="*/ 30 h 55"/>
                <a:gd name="T4" fmla="*/ 15 w 37"/>
                <a:gd name="T5" fmla="*/ 55 h 55"/>
                <a:gd name="T6" fmla="*/ 24 w 37"/>
                <a:gd name="T7" fmla="*/ 55 h 55"/>
                <a:gd name="T8" fmla="*/ 7 w 37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55">
                  <a:moveTo>
                    <a:pt x="7" y="0"/>
                  </a:moveTo>
                  <a:cubicBezTo>
                    <a:pt x="1" y="10"/>
                    <a:pt x="0" y="21"/>
                    <a:pt x="1" y="30"/>
                  </a:cubicBezTo>
                  <a:cubicBezTo>
                    <a:pt x="8" y="34"/>
                    <a:pt x="14" y="42"/>
                    <a:pt x="15" y="55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37" y="19"/>
                    <a:pt x="7" y="0"/>
                    <a:pt x="7" y="0"/>
                  </a:cubicBezTo>
                </a:path>
              </a:pathLst>
            </a:custGeom>
            <a:solidFill>
              <a:srgbClr val="8FE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6" name="任意多边形 80">
              <a:extLst>
                <a:ext uri="{FF2B5EF4-FFF2-40B4-BE49-F238E27FC236}">
                  <a16:creationId xmlns:a16="http://schemas.microsoft.com/office/drawing/2014/main" id="{A718EF74-528C-4981-AE5A-C876104A8331}"/>
                </a:ext>
              </a:extLst>
            </p:cNvPr>
            <p:cNvSpPr/>
            <p:nvPr/>
          </p:nvSpPr>
          <p:spPr bwMode="auto">
            <a:xfrm>
              <a:off x="7737475" y="2782888"/>
              <a:ext cx="52388" cy="95250"/>
            </a:xfrm>
            <a:custGeom>
              <a:avLst/>
              <a:gdLst>
                <a:gd name="T0" fmla="*/ 0 w 14"/>
                <a:gd name="T1" fmla="*/ 0 h 25"/>
                <a:gd name="T2" fmla="*/ 8 w 14"/>
                <a:gd name="T3" fmla="*/ 25 h 25"/>
                <a:gd name="T4" fmla="*/ 14 w 14"/>
                <a:gd name="T5" fmla="*/ 25 h 25"/>
                <a:gd name="T6" fmla="*/ 0 w 14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5">
                  <a:moveTo>
                    <a:pt x="0" y="0"/>
                  </a:moveTo>
                  <a:cubicBezTo>
                    <a:pt x="2" y="14"/>
                    <a:pt x="8" y="25"/>
                    <a:pt x="8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3" y="12"/>
                    <a:pt x="7" y="4"/>
                    <a:pt x="0" y="0"/>
                  </a:cubicBezTo>
                </a:path>
              </a:pathLst>
            </a:custGeom>
            <a:solidFill>
              <a:srgbClr val="78E3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7" name="任意多边形 81">
              <a:extLst>
                <a:ext uri="{FF2B5EF4-FFF2-40B4-BE49-F238E27FC236}">
                  <a16:creationId xmlns:a16="http://schemas.microsoft.com/office/drawing/2014/main" id="{7AF8D0DB-B3A0-42E8-B9FF-726D8B118183}"/>
                </a:ext>
              </a:extLst>
            </p:cNvPr>
            <p:cNvSpPr/>
            <p:nvPr/>
          </p:nvSpPr>
          <p:spPr bwMode="auto">
            <a:xfrm>
              <a:off x="7786688" y="2741613"/>
              <a:ext cx="161925" cy="136525"/>
            </a:xfrm>
            <a:custGeom>
              <a:avLst/>
              <a:gdLst>
                <a:gd name="T0" fmla="*/ 0 w 43"/>
                <a:gd name="T1" fmla="*/ 36 h 36"/>
                <a:gd name="T2" fmla="*/ 38 w 43"/>
                <a:gd name="T3" fmla="*/ 0 h 36"/>
                <a:gd name="T4" fmla="*/ 19 w 43"/>
                <a:gd name="T5" fmla="*/ 36 h 36"/>
                <a:gd name="T6" fmla="*/ 0 w 43"/>
                <a:gd name="T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36">
                  <a:moveTo>
                    <a:pt x="0" y="36"/>
                  </a:moveTo>
                  <a:cubicBezTo>
                    <a:pt x="0" y="36"/>
                    <a:pt x="9" y="6"/>
                    <a:pt x="38" y="0"/>
                  </a:cubicBezTo>
                  <a:cubicBezTo>
                    <a:pt x="38" y="0"/>
                    <a:pt x="43" y="20"/>
                    <a:pt x="19" y="36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rgbClr val="68E1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8" name="任意多边形 82">
              <a:extLst>
                <a:ext uri="{FF2B5EF4-FFF2-40B4-BE49-F238E27FC236}">
                  <a16:creationId xmlns:a16="http://schemas.microsoft.com/office/drawing/2014/main" id="{4832A44A-541A-41B8-B5F6-1C26455974E5}"/>
                </a:ext>
              </a:extLst>
            </p:cNvPr>
            <p:cNvSpPr/>
            <p:nvPr/>
          </p:nvSpPr>
          <p:spPr bwMode="auto">
            <a:xfrm>
              <a:off x="7713663" y="2873375"/>
              <a:ext cx="163513" cy="136525"/>
            </a:xfrm>
            <a:custGeom>
              <a:avLst/>
              <a:gdLst>
                <a:gd name="T0" fmla="*/ 0 w 103"/>
                <a:gd name="T1" fmla="*/ 0 h 86"/>
                <a:gd name="T2" fmla="*/ 12 w 103"/>
                <a:gd name="T3" fmla="*/ 86 h 86"/>
                <a:gd name="T4" fmla="*/ 91 w 103"/>
                <a:gd name="T5" fmla="*/ 86 h 86"/>
                <a:gd name="T6" fmla="*/ 103 w 103"/>
                <a:gd name="T7" fmla="*/ 0 h 86"/>
                <a:gd name="T8" fmla="*/ 0 w 103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86">
                  <a:moveTo>
                    <a:pt x="0" y="0"/>
                  </a:moveTo>
                  <a:lnTo>
                    <a:pt x="12" y="86"/>
                  </a:lnTo>
                  <a:lnTo>
                    <a:pt x="91" y="86"/>
                  </a:lnTo>
                  <a:lnTo>
                    <a:pt x="10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428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2C567356-056D-45D5-9314-57718FAD7D75}"/>
              </a:ext>
            </a:extLst>
          </p:cNvPr>
          <p:cNvSpPr txBox="1"/>
          <p:nvPr/>
        </p:nvSpPr>
        <p:spPr>
          <a:xfrm>
            <a:off x="3970979" y="1335939"/>
            <a:ext cx="25427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rgbClr val="A40000"/>
                </a:solidFill>
              </a:rPr>
              <a:t>Dyninst</a:t>
            </a:r>
            <a:r>
              <a:rPr lang="en-US" sz="2000" dirty="0">
                <a:solidFill>
                  <a:srgbClr val="A40000"/>
                </a:solidFill>
              </a:rPr>
              <a:t> </a:t>
            </a:r>
            <a:r>
              <a:rPr lang="zh-CN" altLang="en-US" sz="2000" dirty="0">
                <a:solidFill>
                  <a:srgbClr val="A40000"/>
                </a:solidFill>
              </a:rPr>
              <a:t>永远滴神</a:t>
            </a:r>
            <a:endParaRPr lang="en-US" sz="2000" dirty="0">
              <a:solidFill>
                <a:srgbClr val="A4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5634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问题</a:t>
            </a:r>
            <a:r>
              <a:rPr lang="en-US" altLang="zh-CN" dirty="0"/>
              <a:t>&amp;</a:t>
            </a:r>
            <a:r>
              <a:rPr lang="zh-CN" altLang="en-US" dirty="0"/>
              <a:t>展望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SH-2021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5A2BC5-02D8-4ECC-86D8-6DD1CFD82A60}"/>
              </a:ext>
            </a:extLst>
          </p:cNvPr>
          <p:cNvSpPr txBox="1"/>
          <p:nvPr/>
        </p:nvSpPr>
        <p:spPr>
          <a:xfrm>
            <a:off x="822036" y="3786909"/>
            <a:ext cx="6588150" cy="17049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继续提升 </a:t>
            </a:r>
            <a:r>
              <a:rPr lang="en-US" altLang="zh-CN" dirty="0" err="1"/>
              <a:t>Unikernel</a:t>
            </a:r>
            <a:r>
              <a:rPr lang="en-US" altLang="zh-CN" dirty="0"/>
              <a:t> </a:t>
            </a:r>
            <a:r>
              <a:rPr lang="zh-CN" altLang="en-US" dirty="0"/>
              <a:t>易用性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en-US" altLang="zh-CN" dirty="0"/>
              <a:t>  </a:t>
            </a:r>
            <a:r>
              <a:rPr lang="zh-CN" altLang="en-US" dirty="0"/>
              <a:t>（使用类似于 </a:t>
            </a:r>
            <a:r>
              <a:rPr lang="en-US" altLang="zh-CN" dirty="0"/>
              <a:t>Docker </a:t>
            </a:r>
            <a:r>
              <a:rPr lang="zh-CN" altLang="en-US" dirty="0"/>
              <a:t>的分发机制，和 </a:t>
            </a:r>
            <a:r>
              <a:rPr lang="en-US" altLang="zh-CN" dirty="0"/>
              <a:t>KATA </a:t>
            </a:r>
            <a:r>
              <a:rPr lang="en-US" altLang="zh-CN" dirty="0" err="1"/>
              <a:t>Unikernel</a:t>
            </a:r>
            <a:r>
              <a:rPr lang="en-US" altLang="zh-CN" dirty="0"/>
              <a:t> </a:t>
            </a:r>
            <a:r>
              <a:rPr lang="zh-CN" altLang="en-US" dirty="0"/>
              <a:t>联动）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更多的 </a:t>
            </a:r>
            <a:r>
              <a:rPr lang="en-US" altLang="zh-CN" dirty="0" err="1"/>
              <a:t>syscall</a:t>
            </a:r>
            <a:r>
              <a:rPr lang="en-US" altLang="zh-CN" dirty="0"/>
              <a:t> </a:t>
            </a:r>
            <a:r>
              <a:rPr lang="zh-CN" altLang="en-US" dirty="0"/>
              <a:t>支持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使用原生 </a:t>
            </a:r>
            <a:r>
              <a:rPr lang="en-US" altLang="zh-CN" dirty="0"/>
              <a:t>fork() </a:t>
            </a:r>
            <a:r>
              <a:rPr lang="zh-CN" altLang="en-US" dirty="0"/>
              <a:t>而非 </a:t>
            </a:r>
            <a:r>
              <a:rPr lang="en-US" altLang="zh-CN" dirty="0" err="1"/>
              <a:t>syscall</a:t>
            </a:r>
            <a:endParaRPr lang="en-US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7977307-5A3C-490E-83C5-83061ABF7F7E}"/>
              </a:ext>
            </a:extLst>
          </p:cNvPr>
          <p:cNvSpPr txBox="1"/>
          <p:nvPr/>
        </p:nvSpPr>
        <p:spPr>
          <a:xfrm>
            <a:off x="822036" y="1777300"/>
            <a:ext cx="3850734" cy="12894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测试程序规模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fork() </a:t>
            </a:r>
            <a:r>
              <a:rPr lang="zh-CN" altLang="en-US" dirty="0"/>
              <a:t>实现方式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err="1"/>
              <a:t>Syscall</a:t>
            </a:r>
            <a:r>
              <a:rPr lang="en-US" dirty="0"/>
              <a:t> rewriter </a:t>
            </a:r>
            <a:r>
              <a:rPr lang="zh-CN" altLang="en-US" dirty="0"/>
              <a:t>无法处理的情况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9AD688-CDAC-4C2E-BF13-96EC87CC3460}"/>
              </a:ext>
            </a:extLst>
          </p:cNvPr>
          <p:cNvSpPr txBox="1"/>
          <p:nvPr/>
        </p:nvSpPr>
        <p:spPr>
          <a:xfrm>
            <a:off x="1129812" y="1276725"/>
            <a:ext cx="1723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存在的问题</a:t>
            </a:r>
            <a:endParaRPr lang="en-US" sz="24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0D458BC6-F530-442C-A619-A1A4E172307B}"/>
              </a:ext>
            </a:extLst>
          </p:cNvPr>
          <p:cNvSpPr txBox="1"/>
          <p:nvPr/>
        </p:nvSpPr>
        <p:spPr>
          <a:xfrm>
            <a:off x="1191368" y="3325244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展望</a:t>
            </a:r>
            <a:endParaRPr lang="en-US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32827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486900" y="4343399"/>
            <a:ext cx="1923594" cy="17027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>
                    <a:lumMod val="20000"/>
                    <a:lumOff val="8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>
                  <a:lumMod val="20000"/>
                  <a:lumOff val="80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AAF2BBA8-C967-46EC-B4E8-0103C16AF4B4}"/>
              </a:ext>
            </a:extLst>
          </p:cNvPr>
          <p:cNvSpPr txBox="1">
            <a:spLocks/>
          </p:cNvSpPr>
          <p:nvPr/>
        </p:nvSpPr>
        <p:spPr>
          <a:xfrm>
            <a:off x="4968909" y="2407845"/>
            <a:ext cx="5419185" cy="7851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dirty="0"/>
              <a:t>提问环节</a:t>
            </a: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84D57D83-ABA2-4E32-BDF1-18280B79FC5E}"/>
              </a:ext>
            </a:extLst>
          </p:cNvPr>
          <p:cNvSpPr txBox="1">
            <a:spLocks/>
          </p:cNvSpPr>
          <p:nvPr/>
        </p:nvSpPr>
        <p:spPr>
          <a:xfrm>
            <a:off x="4968909" y="3097463"/>
            <a:ext cx="5419185" cy="72270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7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54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3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/>
              <a:t>关于项目的细节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61174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7200" dirty="0"/>
              <a:t>Thanks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en-US" dirty="0"/>
              <a:t>OSH-2021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蔡智臻 高泽豫 徐怡 谢强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前期报告回顾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项目成果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测试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项目总结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提问环节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486900" y="4343399"/>
            <a:ext cx="1923594" cy="17027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>
                    <a:lumMod val="20000"/>
                    <a:lumOff val="8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>
                  <a:lumMod val="20000"/>
                  <a:lumOff val="80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12" name="标题 4">
            <a:extLst>
              <a:ext uri="{FF2B5EF4-FFF2-40B4-BE49-F238E27FC236}">
                <a16:creationId xmlns:a16="http://schemas.microsoft.com/office/drawing/2014/main" id="{F628237A-0915-49F6-899E-168799D2BE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8909" y="2407845"/>
            <a:ext cx="5419185" cy="785199"/>
          </a:xfrm>
        </p:spPr>
        <p:txBody>
          <a:bodyPr>
            <a:normAutofit/>
          </a:bodyPr>
          <a:lstStyle/>
          <a:p>
            <a:r>
              <a:rPr lang="zh-CN" altLang="en-US" sz="3200" dirty="0"/>
              <a:t>前期报告回顾</a:t>
            </a:r>
          </a:p>
        </p:txBody>
      </p:sp>
      <p:sp>
        <p:nvSpPr>
          <p:cNvPr id="13" name="文本占位符 5">
            <a:extLst>
              <a:ext uri="{FF2B5EF4-FFF2-40B4-BE49-F238E27FC236}">
                <a16:creationId xmlns:a16="http://schemas.microsoft.com/office/drawing/2014/main" id="{8E609FE8-090E-43DA-844B-B117864ECA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68909" y="3097463"/>
            <a:ext cx="5419185" cy="722708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zh-CN" altLang="en-US" sz="1400" dirty="0"/>
              <a:t>关于 </a:t>
            </a:r>
            <a:r>
              <a:rPr lang="en-US" altLang="zh-CN" sz="1400" dirty="0" err="1"/>
              <a:t>Unikernel</a:t>
            </a:r>
            <a:r>
              <a:rPr lang="en-US" altLang="zh-CN" sz="1400" dirty="0"/>
              <a:t> </a:t>
            </a:r>
            <a:r>
              <a:rPr lang="zh-CN" altLang="en-US" sz="1400" dirty="0"/>
              <a:t>与 </a:t>
            </a:r>
            <a:r>
              <a:rPr lang="en-US" altLang="zh-CN" sz="1400" dirty="0" err="1"/>
              <a:t>Hermitux</a:t>
            </a:r>
            <a:endParaRPr lang="zh-CN" altLang="en-US" sz="14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Unikernel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SH-2021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BC45F9-A44E-4E5A-8CE4-6284B47B3ADF}"/>
              </a:ext>
            </a:extLst>
          </p:cNvPr>
          <p:cNvSpPr txBox="1"/>
          <p:nvPr/>
        </p:nvSpPr>
        <p:spPr>
          <a:xfrm>
            <a:off x="839470" y="1329014"/>
            <a:ext cx="606806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Unikernel</a:t>
            </a:r>
            <a:r>
              <a:rPr lang="zh-CN" altLang="en-US" dirty="0"/>
              <a:t>的愿景：当你看到云客户端时，就像看到单应用硬件一样。</a:t>
            </a:r>
          </a:p>
          <a:p>
            <a:endParaRPr lang="zh-CN" altLang="en-US" dirty="0"/>
          </a:p>
          <a:p>
            <a:r>
              <a:rPr lang="en-US" altLang="zh-CN" dirty="0"/>
              <a:t>	——</a:t>
            </a:r>
            <a:r>
              <a:rPr lang="en-US" dirty="0"/>
              <a:t>The Rise and Fall of the Operating Syste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1B9AB4-5349-48A6-BD70-859063051F20}"/>
              </a:ext>
            </a:extLst>
          </p:cNvPr>
          <p:cNvSpPr txBox="1"/>
          <p:nvPr/>
        </p:nvSpPr>
        <p:spPr>
          <a:xfrm>
            <a:off x="902017" y="3475956"/>
            <a:ext cx="5732780" cy="1705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0" i="0" dirty="0" err="1">
                <a:solidFill>
                  <a:srgbClr val="24292F"/>
                </a:solidFill>
                <a:effectLst/>
                <a:latin typeface="-apple-system"/>
              </a:rPr>
              <a:t>Unikernel</a:t>
            </a:r>
            <a:r>
              <a:rPr lang="en-US" altLang="zh-CN" b="0" i="0" dirty="0">
                <a:solidFill>
                  <a:srgbClr val="24292F"/>
                </a:solidFill>
                <a:effectLst/>
                <a:latin typeface="-apple-system"/>
              </a:rPr>
              <a:t> </a:t>
            </a:r>
            <a:r>
              <a:rPr lang="zh-CN" altLang="en-US" b="0" i="0" dirty="0">
                <a:solidFill>
                  <a:srgbClr val="24292F"/>
                </a:solidFill>
                <a:effectLst/>
                <a:latin typeface="-apple-system"/>
              </a:rPr>
              <a:t>是使用 </a:t>
            </a:r>
            <a:r>
              <a:rPr lang="en-US" altLang="zh-CN" b="0" i="0" dirty="0" err="1">
                <a:solidFill>
                  <a:srgbClr val="24292F"/>
                </a:solidFill>
                <a:effectLst/>
                <a:latin typeface="-apple-system"/>
              </a:rPr>
              <a:t>LibOS</a:t>
            </a:r>
            <a:r>
              <a:rPr lang="en-US" altLang="zh-CN" b="0" i="0" dirty="0">
                <a:solidFill>
                  <a:srgbClr val="24292F"/>
                </a:solidFill>
                <a:effectLst/>
                <a:latin typeface="-apple-system"/>
              </a:rPr>
              <a:t> </a:t>
            </a:r>
            <a:r>
              <a:rPr lang="zh-CN" altLang="en-US" b="0" i="0" dirty="0">
                <a:solidFill>
                  <a:srgbClr val="24292F"/>
                </a:solidFill>
                <a:effectLst/>
                <a:latin typeface="-apple-system"/>
              </a:rPr>
              <a:t>构建的一个专门的、单一地址空间的操作系统。将操作系统的最少必要组件和程序本身打包在一起，直接运行在虚拟层或硬件上，显著提升了隔离性和效率。</a:t>
            </a:r>
            <a:endParaRPr lang="en-US" dirty="0">
              <a:latin typeface="+mn-ea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BC15C24-63A8-423C-9575-594DC3FC24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7530" y="718025"/>
            <a:ext cx="4057650" cy="56197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69704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HermiTux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6A795ED-6D60-4335-B49F-155281220BBA}"/>
              </a:ext>
            </a:extLst>
          </p:cNvPr>
          <p:cNvGrpSpPr/>
          <p:nvPr/>
        </p:nvGrpSpPr>
        <p:grpSpPr>
          <a:xfrm>
            <a:off x="514563" y="1294864"/>
            <a:ext cx="5717801" cy="3531463"/>
            <a:chOff x="1238884" y="2440940"/>
            <a:chExt cx="5717801" cy="353146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0FFEF02-E67E-4C41-843E-DF883CFDC0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38884" y="2440940"/>
              <a:ext cx="5717801" cy="327914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B78485C-331B-43F9-9683-B672E4FE9A70}"/>
                </a:ext>
              </a:extLst>
            </p:cNvPr>
            <p:cNvSpPr txBox="1"/>
            <p:nvPr/>
          </p:nvSpPr>
          <p:spPr>
            <a:xfrm>
              <a:off x="2975104" y="5603071"/>
              <a:ext cx="22453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solidFill>
                    <a:schemeClr val="accent2">
                      <a:lumMod val="50000"/>
                    </a:schemeClr>
                  </a:solidFill>
                </a:rPr>
                <a:t>HermiTux</a:t>
              </a:r>
              <a:r>
                <a:rPr lang="en-US" dirty="0">
                  <a:solidFill>
                    <a:schemeClr val="accent2">
                      <a:lumMod val="50000"/>
                    </a:schemeClr>
                  </a:solidFill>
                </a:rPr>
                <a:t> Overview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C5EE4D1F-F068-4463-B331-115C289BA6AD}"/>
              </a:ext>
            </a:extLst>
          </p:cNvPr>
          <p:cNvSpPr txBox="1"/>
          <p:nvPr/>
        </p:nvSpPr>
        <p:spPr>
          <a:xfrm>
            <a:off x="6232364" y="1279088"/>
            <a:ext cx="4745062" cy="29514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b="0" i="0" dirty="0" err="1">
                <a:solidFill>
                  <a:srgbClr val="24292F"/>
                </a:solidFill>
                <a:effectLst/>
                <a:latin typeface="-apple-system"/>
              </a:rPr>
              <a:t>Unikernel</a:t>
            </a:r>
            <a:r>
              <a:rPr lang="en-US" altLang="zh-CN" b="0" i="0" dirty="0">
                <a:solidFill>
                  <a:srgbClr val="24292F"/>
                </a:solidFill>
                <a:effectLst/>
                <a:latin typeface="-apple-system"/>
              </a:rPr>
              <a:t> </a:t>
            </a:r>
            <a:r>
              <a:rPr lang="zh-CN" altLang="en-US" b="0" i="0" dirty="0">
                <a:solidFill>
                  <a:srgbClr val="24292F"/>
                </a:solidFill>
                <a:effectLst/>
                <a:latin typeface="-apple-system"/>
              </a:rPr>
              <a:t>问题：二进制兼容性</a:t>
            </a:r>
            <a:endParaRPr lang="en-US" altLang="zh-CN" b="0" i="0" dirty="0">
              <a:solidFill>
                <a:srgbClr val="24292F"/>
              </a:solidFill>
              <a:effectLst/>
              <a:latin typeface="-apple-system"/>
            </a:endParaRPr>
          </a:p>
          <a:p>
            <a:pPr algn="l">
              <a:lnSpc>
                <a:spcPct val="150000"/>
              </a:lnSpc>
            </a:pPr>
            <a:r>
              <a:rPr lang="zh-CN" altLang="en-US" b="0" i="0" dirty="0">
                <a:solidFill>
                  <a:srgbClr val="24292F"/>
                </a:solidFill>
                <a:effectLst/>
                <a:latin typeface="-apple-system"/>
              </a:rPr>
              <a:t>虽然 </a:t>
            </a:r>
            <a:r>
              <a:rPr lang="en-US" altLang="zh-CN" b="0" i="0" dirty="0" err="1">
                <a:solidFill>
                  <a:srgbClr val="24292F"/>
                </a:solidFill>
                <a:effectLst/>
                <a:latin typeface="-apple-system"/>
              </a:rPr>
              <a:t>Unikernel</a:t>
            </a:r>
            <a:r>
              <a:rPr lang="en-US" altLang="zh-CN" b="0" i="0" dirty="0">
                <a:solidFill>
                  <a:srgbClr val="24292F"/>
                </a:solidFill>
                <a:effectLst/>
                <a:latin typeface="-apple-system"/>
              </a:rPr>
              <a:t> </a:t>
            </a:r>
            <a:r>
              <a:rPr lang="zh-CN" altLang="en-US" b="0" i="0" dirty="0">
                <a:solidFill>
                  <a:srgbClr val="24292F"/>
                </a:solidFill>
                <a:effectLst/>
                <a:latin typeface="-apple-system"/>
              </a:rPr>
              <a:t>被认为是比容器更安全和更有吸引力的替代方案，但 </a:t>
            </a:r>
            <a:r>
              <a:rPr lang="en-US" altLang="zh-CN" b="0" i="0" dirty="0" err="1">
                <a:solidFill>
                  <a:srgbClr val="24292F"/>
                </a:solidFill>
                <a:effectLst/>
                <a:latin typeface="-apple-system"/>
              </a:rPr>
              <a:t>Unikernel</a:t>
            </a:r>
            <a:r>
              <a:rPr lang="en-US" altLang="zh-CN" b="0" i="0" dirty="0">
                <a:solidFill>
                  <a:srgbClr val="24292F"/>
                </a:solidFill>
                <a:effectLst/>
                <a:latin typeface="-apple-system"/>
              </a:rPr>
              <a:t> </a:t>
            </a:r>
            <a:r>
              <a:rPr lang="zh-CN" altLang="en-US" b="0" i="0" dirty="0">
                <a:solidFill>
                  <a:srgbClr val="24292F"/>
                </a:solidFill>
                <a:effectLst/>
                <a:latin typeface="-apple-system"/>
              </a:rPr>
              <a:t>采用率增长十分缓慢。</a:t>
            </a:r>
          </a:p>
          <a:p>
            <a:pPr algn="l">
              <a:lnSpc>
                <a:spcPct val="150000"/>
              </a:lnSpc>
            </a:pPr>
            <a:r>
              <a:rPr lang="zh-CN" altLang="en-US" b="0" i="0" dirty="0">
                <a:solidFill>
                  <a:srgbClr val="24292F"/>
                </a:solidFill>
                <a:effectLst/>
                <a:latin typeface="-apple-system"/>
              </a:rPr>
              <a:t>其中一个主要的原因是，若无法获得应用程序的源码，用户无法使用通常的 </a:t>
            </a:r>
            <a:r>
              <a:rPr lang="en-US" altLang="zh-CN" b="0" i="0" dirty="0" err="1">
                <a:solidFill>
                  <a:srgbClr val="24292F"/>
                </a:solidFill>
                <a:effectLst/>
                <a:latin typeface="-apple-system"/>
              </a:rPr>
              <a:t>Unikernel</a:t>
            </a:r>
            <a:r>
              <a:rPr lang="en-US" altLang="zh-CN" b="0" i="0" dirty="0">
                <a:solidFill>
                  <a:srgbClr val="24292F"/>
                </a:solidFill>
                <a:effectLst/>
                <a:latin typeface="-apple-system"/>
              </a:rPr>
              <a:t> </a:t>
            </a:r>
            <a:r>
              <a:rPr lang="zh-CN" altLang="en-US" b="0" i="0" dirty="0">
                <a:solidFill>
                  <a:srgbClr val="24292F"/>
                </a:solidFill>
                <a:effectLst/>
                <a:latin typeface="-apple-system"/>
              </a:rPr>
              <a:t>模型来移植和运行它。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231C824-A71A-45A6-A1B0-195AAF2778AB}"/>
              </a:ext>
            </a:extLst>
          </p:cNvPr>
          <p:cNvSpPr txBox="1"/>
          <p:nvPr/>
        </p:nvSpPr>
        <p:spPr>
          <a:xfrm>
            <a:off x="6232363" y="4482931"/>
            <a:ext cx="2781531" cy="12894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 err="1"/>
              <a:t>Hermitux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en-US" altLang="zh-CN" dirty="0"/>
              <a:t>    </a:t>
            </a:r>
            <a:r>
              <a:rPr lang="zh-CN" altLang="en-US" dirty="0"/>
              <a:t>加载时的二进制兼容性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    运行时的二进制兼容性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4973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968909" y="2407845"/>
            <a:ext cx="5419185" cy="785199"/>
          </a:xfrm>
        </p:spPr>
        <p:txBody>
          <a:bodyPr>
            <a:normAutofit/>
          </a:bodyPr>
          <a:lstStyle/>
          <a:p>
            <a:r>
              <a:rPr lang="zh-CN" altLang="en-US" sz="3200" dirty="0"/>
              <a:t>项目成果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4968909" y="3097463"/>
            <a:ext cx="5419185" cy="722708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zh-CN" altLang="en-US" sz="1400" dirty="0"/>
              <a:t>我们改进了 </a:t>
            </a:r>
            <a:r>
              <a:rPr lang="en-US" altLang="zh-CN" sz="1400" dirty="0" err="1"/>
              <a:t>Hermitux</a:t>
            </a:r>
            <a:endParaRPr lang="zh-CN" altLang="en-US" sz="14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486900" y="4343399"/>
            <a:ext cx="1923594" cy="17027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>
                    <a:lumMod val="20000"/>
                    <a:lumOff val="80000"/>
                  </a:schemeClr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>
                  <a:lumMod val="20000"/>
                  <a:lumOff val="80000"/>
                </a:schemeClr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702644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ork </a:t>
            </a:r>
            <a:r>
              <a:rPr lang="en-US" altLang="zh-CN" dirty="0" err="1"/>
              <a:t>Syscall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SH-2021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73ED000-D065-4B98-8C90-EB2F94B2D1E9}"/>
              </a:ext>
            </a:extLst>
          </p:cNvPr>
          <p:cNvGrpSpPr/>
          <p:nvPr/>
        </p:nvGrpSpPr>
        <p:grpSpPr>
          <a:xfrm>
            <a:off x="975857" y="1393131"/>
            <a:ext cx="3438525" cy="3652522"/>
            <a:chOff x="975857" y="1393131"/>
            <a:chExt cx="3438525" cy="3652522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27E5AA1-3CA2-4DBA-9763-33BB7C3D0479}"/>
                </a:ext>
              </a:extLst>
            </p:cNvPr>
            <p:cNvSpPr txBox="1"/>
            <p:nvPr/>
          </p:nvSpPr>
          <p:spPr>
            <a:xfrm>
              <a:off x="1962386" y="1393131"/>
              <a:ext cx="146546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/>
                <a:t>Linux fork()</a:t>
              </a:r>
            </a:p>
          </p:txBody>
        </p:sp>
        <p:pic>
          <p:nvPicPr>
            <p:cNvPr id="4098" name="Picture 2" descr="QQ截图20130712140302">
              <a:extLst>
                <a:ext uri="{FF2B5EF4-FFF2-40B4-BE49-F238E27FC236}">
                  <a16:creationId xmlns:a16="http://schemas.microsoft.com/office/drawing/2014/main" id="{637A3019-0AC2-4F86-A429-ED7D75E53F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5857" y="1835728"/>
              <a:ext cx="3438525" cy="3209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972B92D5-121A-4221-8D43-36CDD50FA454}"/>
              </a:ext>
            </a:extLst>
          </p:cNvPr>
          <p:cNvSpPr txBox="1"/>
          <p:nvPr/>
        </p:nvSpPr>
        <p:spPr>
          <a:xfrm>
            <a:off x="669925" y="5166924"/>
            <a:ext cx="43440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Cascadia Code" panose="020B0609020000020004" pitchFamily="49" charset="0"/>
                <a:cs typeface="Cascadia Code" panose="020B0609020000020004" pitchFamily="49" charset="0"/>
              </a:rPr>
              <a:t>fork() creates a new process by duplicating the calling process. The new process is referred to as the child process. The calling process is referred to as the parent proces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E5279F-FCED-4094-8D58-DC5AD13974E6}"/>
              </a:ext>
            </a:extLst>
          </p:cNvPr>
          <p:cNvSpPr txBox="1"/>
          <p:nvPr/>
        </p:nvSpPr>
        <p:spPr>
          <a:xfrm>
            <a:off x="7069464" y="1370746"/>
            <a:ext cx="195450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err="1"/>
              <a:t>HermiTux</a:t>
            </a:r>
            <a:r>
              <a:rPr lang="en-US" sz="2000" dirty="0"/>
              <a:t> fork(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97FA763-D976-48AE-8C57-EC0CE3E58CF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8543" y="4016202"/>
            <a:ext cx="5455423" cy="1557391"/>
          </a:xfrm>
          <a:prstGeom prst="rect">
            <a:avLst/>
          </a:prstGeom>
        </p:spPr>
      </p:pic>
      <p:pic>
        <p:nvPicPr>
          <p:cNvPr id="19" name="Picture 18" descr="Diagram&#10;&#10;Description automatically generated">
            <a:extLst>
              <a:ext uri="{FF2B5EF4-FFF2-40B4-BE49-F238E27FC236}">
                <a16:creationId xmlns:a16="http://schemas.microsoft.com/office/drawing/2014/main" id="{65F9E9A3-0AD7-4C9E-A0ED-76D2D4D0ED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5920" y="2030160"/>
            <a:ext cx="5935980" cy="174838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65452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yscall</a:t>
            </a:r>
            <a:r>
              <a:rPr lang="en-US" altLang="zh-CN" dirty="0"/>
              <a:t> Rewriter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SH-2021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E7932B6-3EDC-400C-B4D4-2232726BED66}"/>
              </a:ext>
            </a:extLst>
          </p:cNvPr>
          <p:cNvSpPr txBox="1"/>
          <p:nvPr/>
        </p:nvSpPr>
        <p:spPr>
          <a:xfrm>
            <a:off x="883285" y="1234440"/>
            <a:ext cx="31486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/>
              <a:t>为什么 </a:t>
            </a:r>
            <a:r>
              <a:rPr lang="en-US" altLang="zh-CN" sz="2000" dirty="0" err="1"/>
              <a:t>syscall</a:t>
            </a:r>
            <a:r>
              <a:rPr lang="en-US" altLang="zh-CN" sz="2000" dirty="0"/>
              <a:t> </a:t>
            </a:r>
            <a:r>
              <a:rPr lang="zh-CN" altLang="en-US" sz="2000" dirty="0"/>
              <a:t>需要重写？</a:t>
            </a:r>
            <a:endParaRPr lang="en-US" sz="20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6723AF7-C4A0-44A7-A3CB-FF710D025B0F}"/>
              </a:ext>
            </a:extLst>
          </p:cNvPr>
          <p:cNvGrpSpPr/>
          <p:nvPr/>
        </p:nvGrpSpPr>
        <p:grpSpPr>
          <a:xfrm>
            <a:off x="4703762" y="1729875"/>
            <a:ext cx="6083300" cy="3620120"/>
            <a:chOff x="731520" y="2475647"/>
            <a:chExt cx="5615940" cy="3255635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936FFC86-90DB-4D7B-A449-894A6245B6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520" y="2475647"/>
              <a:ext cx="5615940" cy="31589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D8C5E80-197D-4637-AEE2-1BEA626EE002}"/>
                </a:ext>
              </a:extLst>
            </p:cNvPr>
            <p:cNvSpPr txBox="1"/>
            <p:nvPr/>
          </p:nvSpPr>
          <p:spPr>
            <a:xfrm>
              <a:off x="2133496" y="5515838"/>
              <a:ext cx="281198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zh-CN" sz="800" b="0" i="0" dirty="0" err="1">
                  <a:solidFill>
                    <a:srgbClr val="333333"/>
                  </a:solidFill>
                  <a:effectLst/>
                  <a:latin typeface="Roboto Condensed" panose="020B0604020202020204" pitchFamily="2" charset="0"/>
                </a:rPr>
                <a:t>AfterAcademy</a:t>
              </a:r>
              <a:r>
                <a:rPr lang="en-US" altLang="zh-CN" sz="800" dirty="0">
                  <a:solidFill>
                    <a:srgbClr val="333333"/>
                  </a:solidFill>
                  <a:latin typeface="Roboto Condensed" panose="020B0604020202020204" pitchFamily="2" charset="0"/>
                </a:rPr>
                <a:t>:</a:t>
              </a:r>
              <a:r>
                <a:rPr lang="zh-CN" altLang="en-US" sz="800" dirty="0">
                  <a:solidFill>
                    <a:srgbClr val="333333"/>
                  </a:solidFill>
                  <a:latin typeface="Roboto Condensed" panose="020B0604020202020204" pitchFamily="2" charset="0"/>
                </a:rPr>
                <a:t> </a:t>
              </a:r>
              <a:r>
                <a:rPr lang="en-US" sz="800" b="0" i="0" dirty="0">
                  <a:solidFill>
                    <a:srgbClr val="333333"/>
                  </a:solidFill>
                  <a:effectLst/>
                  <a:latin typeface="Roboto Condensed" panose="020B0604020202020204" pitchFamily="2" charset="0"/>
                </a:rPr>
                <a:t>What is Context Switching in Operating System?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D662FA85-3F8F-4C66-A372-F06B9AA4DF99}"/>
              </a:ext>
            </a:extLst>
          </p:cNvPr>
          <p:cNvSpPr txBox="1"/>
          <p:nvPr/>
        </p:nvSpPr>
        <p:spPr>
          <a:xfrm>
            <a:off x="1000760" y="2026660"/>
            <a:ext cx="16273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/>
              <a:t>上下文切换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640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yscall</a:t>
            </a:r>
            <a:r>
              <a:rPr lang="en-US" altLang="zh-CN" dirty="0"/>
              <a:t> Rewriter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SH-2021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7175EEC-61A9-45D8-A11A-14FDD2496899}"/>
              </a:ext>
            </a:extLst>
          </p:cNvPr>
          <p:cNvGrpSpPr/>
          <p:nvPr/>
        </p:nvGrpSpPr>
        <p:grpSpPr>
          <a:xfrm>
            <a:off x="669924" y="2010575"/>
            <a:ext cx="5066069" cy="2542645"/>
            <a:chOff x="669924" y="2010575"/>
            <a:chExt cx="5066069" cy="254264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20AABA6-4264-4EE8-BE94-F8802F2C8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9924" y="2010575"/>
              <a:ext cx="5066069" cy="2173313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25806EB-1196-4849-9F8D-CB05DCBC60A5}"/>
                </a:ext>
              </a:extLst>
            </p:cNvPr>
            <p:cNvSpPr txBox="1"/>
            <p:nvPr/>
          </p:nvSpPr>
          <p:spPr>
            <a:xfrm>
              <a:off x="2251415" y="4183888"/>
              <a:ext cx="19030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Original Rewriter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CF05EE53-48A4-4876-93F7-6404599C2F09}"/>
              </a:ext>
            </a:extLst>
          </p:cNvPr>
          <p:cNvSpPr txBox="1"/>
          <p:nvPr/>
        </p:nvSpPr>
        <p:spPr>
          <a:xfrm>
            <a:off x="5875020" y="1619903"/>
            <a:ext cx="5250155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问题：</a:t>
            </a:r>
            <a:endParaRPr lang="en-US" altLang="zh-CN" dirty="0"/>
          </a:p>
          <a:p>
            <a:endParaRPr lang="en-US" dirty="0"/>
          </a:p>
          <a:p>
            <a:pPr marL="342900" indent="-342900">
              <a:buAutoNum type="arabicPeriod"/>
            </a:pPr>
            <a:r>
              <a:rPr lang="zh-CN" altLang="en-US" dirty="0"/>
              <a:t>若存在跳转指令至 </a:t>
            </a:r>
            <a:r>
              <a:rPr lang="en-US" altLang="zh-CN" dirty="0"/>
              <a:t>mov </a:t>
            </a:r>
            <a:r>
              <a:rPr lang="zh-CN" altLang="en-US" dirty="0"/>
              <a:t>对应位置，则发生错误</a:t>
            </a:r>
            <a:endParaRPr lang="en-US" altLang="zh-CN" dirty="0"/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zh-CN" altLang="en-US" dirty="0"/>
              <a:t>后续指令可能无法合并替换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FC0C18A-33C5-4C1B-A8A4-0406CFB30BC2}"/>
              </a:ext>
            </a:extLst>
          </p:cNvPr>
          <p:cNvSpPr txBox="1"/>
          <p:nvPr/>
        </p:nvSpPr>
        <p:spPr>
          <a:xfrm>
            <a:off x="7408924" y="4015707"/>
            <a:ext cx="20313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/>
              <a:t>重写范围受限</a:t>
            </a:r>
            <a:endParaRPr lang="en-US" sz="2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97A055F-AD78-4470-BC61-91AB61486BB1}"/>
              </a:ext>
            </a:extLst>
          </p:cNvPr>
          <p:cNvSpPr txBox="1"/>
          <p:nvPr/>
        </p:nvSpPr>
        <p:spPr>
          <a:xfrm>
            <a:off x="818760" y="4553220"/>
            <a:ext cx="6215163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if (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has_incompatible_instruction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(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nextblock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))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{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   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hasjmp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++;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    //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cout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 &lt;&lt; "JMP:" &lt;&lt; hex &lt;&lt;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sc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-&gt;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get_address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() &lt;&lt;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endl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;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    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to_remove.push_back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(</a:t>
            </a:r>
            <a:r>
              <a:rPr lang="en-US" altLang="zh-CN" sz="1400" dirty="0" err="1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sc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);</a:t>
            </a:r>
          </a:p>
          <a:p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    continue;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Cascadia Code" panose="020B0609020000020004" pitchFamily="49" charset="0"/>
                <a:cs typeface="Cascadia Code" panose="020B0609020000020004" pitchFamily="49" charset="0"/>
              </a:rPr>
              <a:t>}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7B5B3A0-E1ED-48E0-A850-764E806D1846}"/>
              </a:ext>
            </a:extLst>
          </p:cNvPr>
          <p:cNvSpPr txBox="1"/>
          <p:nvPr/>
        </p:nvSpPr>
        <p:spPr>
          <a:xfrm>
            <a:off x="3185160" y="1287780"/>
            <a:ext cx="16594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45/90/62/697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7D99798-6564-42AD-8988-D7D2A9171211}"/>
              </a:ext>
            </a:extLst>
          </p:cNvPr>
          <p:cNvSpPr txBox="1"/>
          <p:nvPr/>
        </p:nvSpPr>
        <p:spPr>
          <a:xfrm>
            <a:off x="5875020" y="3380070"/>
            <a:ext cx="45768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libc </a:t>
            </a:r>
            <a:r>
              <a:rPr lang="zh-CN" altLang="en-US" dirty="0"/>
              <a:t>中 </a:t>
            </a:r>
            <a:r>
              <a:rPr lang="en-US" altLang="zh-CN" dirty="0"/>
              <a:t>697 </a:t>
            </a:r>
            <a:r>
              <a:rPr lang="zh-CN" altLang="en-US" dirty="0"/>
              <a:t>个 </a:t>
            </a:r>
            <a:r>
              <a:rPr lang="en-US" altLang="zh-CN" dirty="0" err="1"/>
              <a:t>syscalls</a:t>
            </a:r>
            <a:r>
              <a:rPr lang="zh-CN" altLang="en-US" dirty="0"/>
              <a:t>，可重写 </a:t>
            </a:r>
            <a:r>
              <a:rPr lang="en-US" altLang="zh-CN" dirty="0"/>
              <a:t>545 </a:t>
            </a:r>
            <a:r>
              <a:rPr lang="zh-CN" altLang="en-US" dirty="0"/>
              <a:t>个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8692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3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1467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186025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186025;#275493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186025;#275493;#418507;#621773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186025;#275493;#418507;#621773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276AA"/>
      </a:accent1>
      <a:accent2>
        <a:srgbClr val="9E9E9E"/>
      </a:accent2>
      <a:accent3>
        <a:srgbClr val="848484"/>
      </a:accent3>
      <a:accent4>
        <a:srgbClr val="707070"/>
      </a:accent4>
      <a:accent5>
        <a:srgbClr val="616161"/>
      </a:accent5>
      <a:accent6>
        <a:srgbClr val="484848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276AA"/>
    </a:accent1>
    <a:accent2>
      <a:srgbClr val="9E9E9E"/>
    </a:accent2>
    <a:accent3>
      <a:srgbClr val="848484"/>
    </a:accent3>
    <a:accent4>
      <a:srgbClr val="707070"/>
    </a:accent4>
    <a:accent5>
      <a:srgbClr val="616161"/>
    </a:accent5>
    <a:accent6>
      <a:srgbClr val="484848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276AA"/>
    </a:accent1>
    <a:accent2>
      <a:srgbClr val="9E9E9E"/>
    </a:accent2>
    <a:accent3>
      <a:srgbClr val="848484"/>
    </a:accent3>
    <a:accent4>
      <a:srgbClr val="707070"/>
    </a:accent4>
    <a:accent5>
      <a:srgbClr val="616161"/>
    </a:accent5>
    <a:accent6>
      <a:srgbClr val="484848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276AA"/>
    </a:accent1>
    <a:accent2>
      <a:srgbClr val="9E9E9E"/>
    </a:accent2>
    <a:accent3>
      <a:srgbClr val="848484"/>
    </a:accent3>
    <a:accent4>
      <a:srgbClr val="707070"/>
    </a:accent4>
    <a:accent5>
      <a:srgbClr val="616161"/>
    </a:accent5>
    <a:accent6>
      <a:srgbClr val="484848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276AA"/>
    </a:accent1>
    <a:accent2>
      <a:srgbClr val="9E9E9E"/>
    </a:accent2>
    <a:accent3>
      <a:srgbClr val="848484"/>
    </a:accent3>
    <a:accent4>
      <a:srgbClr val="707070"/>
    </a:accent4>
    <a:accent5>
      <a:srgbClr val="616161"/>
    </a:accent5>
    <a:accent6>
      <a:srgbClr val="484848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276AA"/>
    </a:accent1>
    <a:accent2>
      <a:srgbClr val="9E9E9E"/>
    </a:accent2>
    <a:accent3>
      <a:srgbClr val="848484"/>
    </a:accent3>
    <a:accent4>
      <a:srgbClr val="707070"/>
    </a:accent4>
    <a:accent5>
      <a:srgbClr val="616161"/>
    </a:accent5>
    <a:accent6>
      <a:srgbClr val="484848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46</TotalTime>
  <Words>1393</Words>
  <Application>Microsoft Office PowerPoint</Application>
  <PresentationFormat>Widescreen</PresentationFormat>
  <Paragraphs>215</Paragraphs>
  <Slides>1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-apple-system</vt:lpstr>
      <vt:lpstr>微软雅黑</vt:lpstr>
      <vt:lpstr>Arial</vt:lpstr>
      <vt:lpstr>Calibri</vt:lpstr>
      <vt:lpstr>Cascadia Code</vt:lpstr>
      <vt:lpstr>Impact</vt:lpstr>
      <vt:lpstr>Roboto Condensed</vt:lpstr>
      <vt:lpstr>主题5</vt:lpstr>
      <vt:lpstr>think-cell Slide</vt:lpstr>
      <vt:lpstr>Unipanic Project</vt:lpstr>
      <vt:lpstr>PowerPoint Presentation</vt:lpstr>
      <vt:lpstr>前期报告回顾</vt:lpstr>
      <vt:lpstr>Unikernel</vt:lpstr>
      <vt:lpstr>HermiTux</vt:lpstr>
      <vt:lpstr>项目成果</vt:lpstr>
      <vt:lpstr>Fork Syscall</vt:lpstr>
      <vt:lpstr>Syscall Rewriter</vt:lpstr>
      <vt:lpstr>Syscall Rewriter</vt:lpstr>
      <vt:lpstr>Syscall Rewriter</vt:lpstr>
      <vt:lpstr>测试</vt:lpstr>
      <vt:lpstr>Fork Syscall</vt:lpstr>
      <vt:lpstr>Syscall Rewriter</vt:lpstr>
      <vt:lpstr>PowerPoint Presentation</vt:lpstr>
      <vt:lpstr>项目总结</vt:lpstr>
      <vt:lpstr>项目问题&amp;展望</vt:lpstr>
      <vt:lpstr>PowerPoint Presentation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C.</cp:lastModifiedBy>
  <cp:revision>2</cp:revision>
  <cp:lastPrinted>2018-08-28T16:00:00Z</cp:lastPrinted>
  <dcterms:created xsi:type="dcterms:W3CDTF">2018-08-28T16:00:00Z</dcterms:created>
  <dcterms:modified xsi:type="dcterms:W3CDTF">2021-07-09T02:5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